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5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6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7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8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9.xml" ContentType="application/vnd.openxmlformats-officedocument.theme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10.xml" ContentType="application/vnd.openxmlformats-officedocument.theme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1.xml" ContentType="application/vnd.openxmlformats-officedocument.theme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1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4" r:id="rId4"/>
    <p:sldMasterId id="2147483712" r:id="rId5"/>
    <p:sldMasterId id="2147483668" r:id="rId6"/>
    <p:sldMasterId id="2147483688" r:id="rId7"/>
    <p:sldMasterId id="2147483700" r:id="rId8"/>
    <p:sldMasterId id="2147483724" r:id="rId9"/>
    <p:sldMasterId id="2147483736" r:id="rId10"/>
    <p:sldMasterId id="2147483750" r:id="rId11"/>
    <p:sldMasterId id="2147483762" r:id="rId12"/>
    <p:sldMasterId id="2147483774" r:id="rId13"/>
    <p:sldMasterId id="2147483799" r:id="rId14"/>
    <p:sldMasterId id="2147483824" r:id="rId15"/>
  </p:sldMasterIdLst>
  <p:notesMasterIdLst>
    <p:notesMasterId r:id="rId27"/>
  </p:notesMasterIdLst>
  <p:sldIdLst>
    <p:sldId id="281" r:id="rId16"/>
    <p:sldId id="3340" r:id="rId17"/>
    <p:sldId id="3388" r:id="rId18"/>
    <p:sldId id="3539" r:id="rId19"/>
    <p:sldId id="3369" r:id="rId20"/>
    <p:sldId id="3423" r:id="rId21"/>
    <p:sldId id="3536" r:id="rId22"/>
    <p:sldId id="3500" r:id="rId23"/>
    <p:sldId id="3537" r:id="rId24"/>
    <p:sldId id="3540" r:id="rId25"/>
    <p:sldId id="3492" r:id="rId26"/>
  </p:sldIdLst>
  <p:sldSz cx="12192000" cy="6858000"/>
  <p:notesSz cx="7010400" cy="9296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C5A015D-E20A-F60F-8833-52B74F362F75}" name="Qureshi, Taj F." initials="QTF" userId="S::tqureshi@bwh.harvard.edu::e19f8f9a-4b04-4f30-b58a-5b568dd505d5" providerId="AD"/>
  <p188:author id="{EB0D72F7-9E93-67BB-647E-17ADC68902D5}" name="Desai, Sonali P.,MD" initials="DP" userId="S::sdesai5@bwh.harvard.edu::da823ac8-cded-4908-8497-a463dec8406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Qureshi, Taj F." initials="QTF" lastIdx="35" clrIdx="6">
    <p:extLst>
      <p:ext uri="{19B8F6BF-5375-455C-9EA6-DF929625EA0E}">
        <p15:presenceInfo xmlns:p15="http://schemas.microsoft.com/office/powerpoint/2012/main" userId="S::tqureshi@bwh.harvard.edu::e19f8f9a-4b04-4f30-b58a-5b568dd505d5" providerId="AD"/>
      </p:ext>
    </p:extLst>
  </p:cmAuthor>
  <p:cmAuthor id="1" name="Hagono, Regina" initials="HR" lastIdx="88" clrIdx="0"/>
  <p:cmAuthor id="8" name="Levie, Alexandra Catherine" initials="LC" lastIdx="8" clrIdx="7">
    <p:extLst>
      <p:ext uri="{19B8F6BF-5375-455C-9EA6-DF929625EA0E}">
        <p15:presenceInfo xmlns:p15="http://schemas.microsoft.com/office/powerpoint/2012/main" userId="S::alevie@bwh.harvard.edu::054c0d2c-3b65-478d-961d-89fc32e982d9" providerId="AD"/>
      </p:ext>
    </p:extLst>
  </p:cmAuthor>
  <p:cmAuthor id="2" name="Desai, Sonali Parekh,M.D." initials="DSP" lastIdx="13" clrIdx="1"/>
  <p:cmAuthor id="9" name="Lorusso, Jessica A." initials="LJA" lastIdx="36" clrIdx="8">
    <p:extLst>
      <p:ext uri="{19B8F6BF-5375-455C-9EA6-DF929625EA0E}">
        <p15:presenceInfo xmlns:p15="http://schemas.microsoft.com/office/powerpoint/2012/main" userId="S::jlorusso@bwh.harvard.edu::59f70244-0f1f-4cea-bc85-e4cea69f858a" providerId="AD"/>
      </p:ext>
    </p:extLst>
  </p:cmAuthor>
  <p:cmAuthor id="3" name="Hagono, Regina" initials="HR [2]" lastIdx="9" clrIdx="2"/>
  <p:cmAuthor id="10" name="Lynch, Elyse" initials="LE" lastIdx="2" clrIdx="9">
    <p:extLst>
      <p:ext uri="{19B8F6BF-5375-455C-9EA6-DF929625EA0E}">
        <p15:presenceInfo xmlns:p15="http://schemas.microsoft.com/office/powerpoint/2012/main" userId="S::elynch8@bwh.harvard.edu::760a6774-bc5c-4dbf-8c03-a0277c184ebb" providerId="AD"/>
      </p:ext>
    </p:extLst>
  </p:cmAuthor>
  <p:cmAuthor id="4" name="Kapoor, Neena,M.D." initials="KN" lastIdx="11" clrIdx="3"/>
  <p:cmAuthor id="5" name="Tramontozzi, Luca Alessandro" initials="TA" lastIdx="2" clrIdx="4">
    <p:extLst>
      <p:ext uri="{19B8F6BF-5375-455C-9EA6-DF929625EA0E}">
        <p15:presenceInfo xmlns:p15="http://schemas.microsoft.com/office/powerpoint/2012/main" userId="S::latramontozzi@bwh.harvard.edu::dab060e7-5642-45b5-a1fd-af65bcdec3d1" providerId="AD"/>
      </p:ext>
    </p:extLst>
  </p:cmAuthor>
  <p:cmAuthor id="6" name="Desai, Sonali Parekh,M.D." initials="DP" lastIdx="16" clrIdx="5">
    <p:extLst>
      <p:ext uri="{19B8F6BF-5375-455C-9EA6-DF929625EA0E}">
        <p15:presenceInfo xmlns:p15="http://schemas.microsoft.com/office/powerpoint/2012/main" userId="S::sdesai5@bwh.harvard.edu::da823ac8-cded-4908-8497-a463dec8406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2585A"/>
    <a:srgbClr val="5E646D"/>
    <a:srgbClr val="ABB4BB"/>
    <a:srgbClr val="FF9DA7"/>
    <a:srgbClr val="B07AA1"/>
    <a:srgbClr val="4E79A7"/>
    <a:srgbClr val="003DA6"/>
    <a:srgbClr val="009999"/>
    <a:srgbClr val="3AC5F1"/>
    <a:srgbClr val="3D6BB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588F7C4-2D26-4F45-92DF-2C3FB1C35B8C}" v="8" dt="2023-07-03T13:50:25.618"/>
    <p1510:client id="{579C79CE-7B8E-E924-C144-0E571B8A98EC}" v="129" dt="2023-07-11T17:17:44.2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2376" y="13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" Type="http://schemas.openxmlformats.org/officeDocument/2006/relationships/customXml" Target="../customXml/item3.xml"/><Relationship Id="rId21" Type="http://schemas.openxmlformats.org/officeDocument/2006/relationships/slide" Target="slides/slide6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Relationship Id="rId35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etrano, Nicole" userId="S::nvetrano@bwh.harvard.edu::251ed28a-7cb2-4cc8-a8b7-59519a3d4894" providerId="AD" clId="Web-{D5F9AAFA-F8BA-0E26-9952-DE036852E642}"/>
    <pc:docChg chg="modSld">
      <pc:chgData name="Vetrano, Nicole" userId="S::nvetrano@bwh.harvard.edu::251ed28a-7cb2-4cc8-a8b7-59519a3d4894" providerId="AD" clId="Web-{D5F9AAFA-F8BA-0E26-9952-DE036852E642}" dt="2023-03-08T18:47:22.889" v="55"/>
      <pc:docMkLst>
        <pc:docMk/>
      </pc:docMkLst>
      <pc:sldChg chg="addSp delSp modSp">
        <pc:chgData name="Vetrano, Nicole" userId="S::nvetrano@bwh.harvard.edu::251ed28a-7cb2-4cc8-a8b7-59519a3d4894" providerId="AD" clId="Web-{D5F9AAFA-F8BA-0E26-9952-DE036852E642}" dt="2023-03-08T18:42:03.207" v="22" actId="1076"/>
        <pc:sldMkLst>
          <pc:docMk/>
          <pc:sldMk cId="2663093350" sldId="3369"/>
        </pc:sldMkLst>
        <pc:spChg chg="del">
          <ac:chgData name="Vetrano, Nicole" userId="S::nvetrano@bwh.harvard.edu::251ed28a-7cb2-4cc8-a8b7-59519a3d4894" providerId="AD" clId="Web-{D5F9AAFA-F8BA-0E26-9952-DE036852E642}" dt="2023-03-08T18:39:23.686" v="7"/>
          <ac:spMkLst>
            <pc:docMk/>
            <pc:sldMk cId="2663093350" sldId="3369"/>
            <ac:spMk id="8" creationId="{D7BA66CB-8436-495D-97B6-5A52D9F0828B}"/>
          </ac:spMkLst>
        </pc:spChg>
        <pc:picChg chg="add mod">
          <ac:chgData name="Vetrano, Nicole" userId="S::nvetrano@bwh.harvard.edu::251ed28a-7cb2-4cc8-a8b7-59519a3d4894" providerId="AD" clId="Web-{D5F9AAFA-F8BA-0E26-9952-DE036852E642}" dt="2023-03-08T18:40:03.625" v="15" actId="1076"/>
          <ac:picMkLst>
            <pc:docMk/>
            <pc:sldMk cId="2663093350" sldId="3369"/>
            <ac:picMk id="2" creationId="{A9496F9E-40A0-F616-A4A8-F352E70DF8F5}"/>
          </ac:picMkLst>
        </pc:picChg>
        <pc:picChg chg="del">
          <ac:chgData name="Vetrano, Nicole" userId="S::nvetrano@bwh.harvard.edu::251ed28a-7cb2-4cc8-a8b7-59519a3d4894" providerId="AD" clId="Web-{D5F9AAFA-F8BA-0E26-9952-DE036852E642}" dt="2023-03-08T18:39:52" v="11"/>
          <ac:picMkLst>
            <pc:docMk/>
            <pc:sldMk cId="2663093350" sldId="3369"/>
            <ac:picMk id="3" creationId="{599CBA68-90BA-A68E-7B56-1C9A053C4A76}"/>
          </ac:picMkLst>
        </pc:picChg>
        <pc:picChg chg="add mod">
          <ac:chgData name="Vetrano, Nicole" userId="S::nvetrano@bwh.harvard.edu::251ed28a-7cb2-4cc8-a8b7-59519a3d4894" providerId="AD" clId="Web-{D5F9AAFA-F8BA-0E26-9952-DE036852E642}" dt="2023-03-08T18:42:03.207" v="22" actId="1076"/>
          <ac:picMkLst>
            <pc:docMk/>
            <pc:sldMk cId="2663093350" sldId="3369"/>
            <ac:picMk id="5" creationId="{C1ED60C1-C310-6E47-8590-83080295EE12}"/>
          </ac:picMkLst>
        </pc:picChg>
        <pc:picChg chg="del">
          <ac:chgData name="Vetrano, Nicole" userId="S::nvetrano@bwh.harvard.edu::251ed28a-7cb2-4cc8-a8b7-59519a3d4894" providerId="AD" clId="Web-{D5F9AAFA-F8BA-0E26-9952-DE036852E642}" dt="2023-03-08T18:39:24.514" v="8"/>
          <ac:picMkLst>
            <pc:docMk/>
            <pc:sldMk cId="2663093350" sldId="3369"/>
            <ac:picMk id="7" creationId="{5D7C4DE8-88C9-60AE-C531-52982F0E29A5}"/>
          </ac:picMkLst>
        </pc:picChg>
        <pc:picChg chg="del">
          <ac:chgData name="Vetrano, Nicole" userId="S::nvetrano@bwh.harvard.edu::251ed28a-7cb2-4cc8-a8b7-59519a3d4894" providerId="AD" clId="Web-{D5F9AAFA-F8BA-0E26-9952-DE036852E642}" dt="2023-03-08T18:39:25.155" v="9"/>
          <ac:picMkLst>
            <pc:docMk/>
            <pc:sldMk cId="2663093350" sldId="3369"/>
            <ac:picMk id="9" creationId="{A7D11675-29DA-9723-3B43-8A62B1DE056D}"/>
          </ac:picMkLst>
        </pc:picChg>
      </pc:sldChg>
      <pc:sldChg chg="addSp delSp modSp">
        <pc:chgData name="Vetrano, Nicole" userId="S::nvetrano@bwh.harvard.edu::251ed28a-7cb2-4cc8-a8b7-59519a3d4894" providerId="AD" clId="Web-{D5F9AAFA-F8BA-0E26-9952-DE036852E642}" dt="2023-03-08T18:39:18.092" v="6" actId="1076"/>
        <pc:sldMkLst>
          <pc:docMk/>
          <pc:sldMk cId="427793889" sldId="3388"/>
        </pc:sldMkLst>
        <pc:spChg chg="del">
          <ac:chgData name="Vetrano, Nicole" userId="S::nvetrano@bwh.harvard.edu::251ed28a-7cb2-4cc8-a8b7-59519a3d4894" providerId="AD" clId="Web-{D5F9AAFA-F8BA-0E26-9952-DE036852E642}" dt="2023-03-08T18:36:41.150" v="0"/>
          <ac:spMkLst>
            <pc:docMk/>
            <pc:sldMk cId="427793889" sldId="3388"/>
            <ac:spMk id="4" creationId="{EF29A5FF-47A0-4CD6-B6BD-0A416C7E02B2}"/>
          </ac:spMkLst>
        </pc:spChg>
        <pc:picChg chg="del">
          <ac:chgData name="Vetrano, Nicole" userId="S::nvetrano@bwh.harvard.edu::251ed28a-7cb2-4cc8-a8b7-59519a3d4894" providerId="AD" clId="Web-{D5F9AAFA-F8BA-0E26-9952-DE036852E642}" dt="2023-03-08T18:36:42.212" v="1"/>
          <ac:picMkLst>
            <pc:docMk/>
            <pc:sldMk cId="427793889" sldId="3388"/>
            <ac:picMk id="5" creationId="{8031F3B2-5420-25CD-F9E2-051E8E3A967D}"/>
          </ac:picMkLst>
        </pc:picChg>
        <pc:picChg chg="add mod">
          <ac:chgData name="Vetrano, Nicole" userId="S::nvetrano@bwh.harvard.edu::251ed28a-7cb2-4cc8-a8b7-59519a3d4894" providerId="AD" clId="Web-{D5F9AAFA-F8BA-0E26-9952-DE036852E642}" dt="2023-03-08T18:39:18.092" v="6" actId="1076"/>
          <ac:picMkLst>
            <pc:docMk/>
            <pc:sldMk cId="427793889" sldId="3388"/>
            <ac:picMk id="6" creationId="{F2C81E8E-351E-006D-09B9-C7222D682EDE}"/>
          </ac:picMkLst>
        </pc:picChg>
      </pc:sldChg>
      <pc:sldChg chg="addSp delSp modSp">
        <pc:chgData name="Vetrano, Nicole" userId="S::nvetrano@bwh.harvard.edu::251ed28a-7cb2-4cc8-a8b7-59519a3d4894" providerId="AD" clId="Web-{D5F9AAFA-F8BA-0E26-9952-DE036852E642}" dt="2023-03-08T18:45:34.338" v="44" actId="14100"/>
        <pc:sldMkLst>
          <pc:docMk/>
          <pc:sldMk cId="240661228" sldId="3423"/>
        </pc:sldMkLst>
        <pc:spChg chg="del">
          <ac:chgData name="Vetrano, Nicole" userId="S::nvetrano@bwh.harvard.edu::251ed28a-7cb2-4cc8-a8b7-59519a3d4894" providerId="AD" clId="Web-{D5F9AAFA-F8BA-0E26-9952-DE036852E642}" dt="2023-03-08T18:44:07.273" v="38"/>
          <ac:spMkLst>
            <pc:docMk/>
            <pc:sldMk cId="240661228" sldId="3423"/>
            <ac:spMk id="6" creationId="{D21B9DCE-66C9-4EA3-873E-C7C61B86BD8D}"/>
          </ac:spMkLst>
        </pc:spChg>
        <pc:picChg chg="add mod">
          <ac:chgData name="Vetrano, Nicole" userId="S::nvetrano@bwh.harvard.edu::251ed28a-7cb2-4cc8-a8b7-59519a3d4894" providerId="AD" clId="Web-{D5F9AAFA-F8BA-0E26-9952-DE036852E642}" dt="2023-03-08T18:45:34.338" v="44" actId="14100"/>
          <ac:picMkLst>
            <pc:docMk/>
            <pc:sldMk cId="240661228" sldId="3423"/>
            <ac:picMk id="2" creationId="{80B533F2-A018-4218-7143-D0A80F5834F8}"/>
          </ac:picMkLst>
        </pc:picChg>
        <pc:picChg chg="del">
          <ac:chgData name="Vetrano, Nicole" userId="S::nvetrano@bwh.harvard.edu::251ed28a-7cb2-4cc8-a8b7-59519a3d4894" providerId="AD" clId="Web-{D5F9AAFA-F8BA-0E26-9952-DE036852E642}" dt="2023-03-08T18:44:08.789" v="39"/>
          <ac:picMkLst>
            <pc:docMk/>
            <pc:sldMk cId="240661228" sldId="3423"/>
            <ac:picMk id="3" creationId="{9176AFC6-9CE6-73A8-5612-CF3203E2E600}"/>
          </ac:picMkLst>
        </pc:picChg>
        <pc:picChg chg="del">
          <ac:chgData name="Vetrano, Nicole" userId="S::nvetrano@bwh.harvard.edu::251ed28a-7cb2-4cc8-a8b7-59519a3d4894" providerId="AD" clId="Web-{D5F9AAFA-F8BA-0E26-9952-DE036852E642}" dt="2023-03-08T18:44:10.211" v="40"/>
          <ac:picMkLst>
            <pc:docMk/>
            <pc:sldMk cId="240661228" sldId="3423"/>
            <ac:picMk id="4" creationId="{DBB3BF75-3C59-81CB-0DAA-59CDCCAA2101}"/>
          </ac:picMkLst>
        </pc:picChg>
      </pc:sldChg>
      <pc:sldChg chg="delSp">
        <pc:chgData name="Vetrano, Nicole" userId="S::nvetrano@bwh.harvard.edu::251ed28a-7cb2-4cc8-a8b7-59519a3d4894" providerId="AD" clId="Web-{D5F9AAFA-F8BA-0E26-9952-DE036852E642}" dt="2023-03-08T18:47:22.889" v="55"/>
        <pc:sldMkLst>
          <pc:docMk/>
          <pc:sldMk cId="2157829121" sldId="3500"/>
        </pc:sldMkLst>
        <pc:spChg chg="del">
          <ac:chgData name="Vetrano, Nicole" userId="S::nvetrano@bwh.harvard.edu::251ed28a-7cb2-4cc8-a8b7-59519a3d4894" providerId="AD" clId="Web-{D5F9AAFA-F8BA-0E26-9952-DE036852E642}" dt="2023-03-08T18:47:22.889" v="55"/>
          <ac:spMkLst>
            <pc:docMk/>
            <pc:sldMk cId="2157829121" sldId="3500"/>
            <ac:spMk id="4" creationId="{504C23A2-7F47-404E-B845-D4FF1472A196}"/>
          </ac:spMkLst>
        </pc:spChg>
      </pc:sldChg>
      <pc:sldChg chg="addSp delSp modSp">
        <pc:chgData name="Vetrano, Nicole" userId="S::nvetrano@bwh.harvard.edu::251ed28a-7cb2-4cc8-a8b7-59519a3d4894" providerId="AD" clId="Web-{D5F9AAFA-F8BA-0E26-9952-DE036852E642}" dt="2023-03-08T18:47:17.685" v="54" actId="1076"/>
        <pc:sldMkLst>
          <pc:docMk/>
          <pc:sldMk cId="3640228099" sldId="3536"/>
        </pc:sldMkLst>
        <pc:spChg chg="del">
          <ac:chgData name="Vetrano, Nicole" userId="S::nvetrano@bwh.harvard.edu::251ed28a-7cb2-4cc8-a8b7-59519a3d4894" providerId="AD" clId="Web-{D5F9AAFA-F8BA-0E26-9952-DE036852E642}" dt="2023-03-08T18:45:39.182" v="45"/>
          <ac:spMkLst>
            <pc:docMk/>
            <pc:sldMk cId="3640228099" sldId="3536"/>
            <ac:spMk id="10" creationId="{F25E45FB-DB66-4539-A69C-82A5F6D9287F}"/>
          </ac:spMkLst>
        </pc:spChg>
        <pc:picChg chg="del">
          <ac:chgData name="Vetrano, Nicole" userId="S::nvetrano@bwh.harvard.edu::251ed28a-7cb2-4cc8-a8b7-59519a3d4894" providerId="AD" clId="Web-{D5F9AAFA-F8BA-0E26-9952-DE036852E642}" dt="2023-03-08T18:47:00.528" v="46"/>
          <ac:picMkLst>
            <pc:docMk/>
            <pc:sldMk cId="3640228099" sldId="3536"/>
            <ac:picMk id="2" creationId="{593B02E9-B374-EA37-EC4B-6AD0BEF89A0F}"/>
          </ac:picMkLst>
        </pc:picChg>
        <pc:picChg chg="add mod">
          <ac:chgData name="Vetrano, Nicole" userId="S::nvetrano@bwh.harvard.edu::251ed28a-7cb2-4cc8-a8b7-59519a3d4894" providerId="AD" clId="Web-{D5F9AAFA-F8BA-0E26-9952-DE036852E642}" dt="2023-03-08T18:47:17.685" v="54" actId="1076"/>
          <ac:picMkLst>
            <pc:docMk/>
            <pc:sldMk cId="3640228099" sldId="3536"/>
            <ac:picMk id="3" creationId="{1926E51C-2267-AE99-A0FE-BE5911454C9E}"/>
          </ac:picMkLst>
        </pc:picChg>
        <pc:picChg chg="del">
          <ac:chgData name="Vetrano, Nicole" userId="S::nvetrano@bwh.harvard.edu::251ed28a-7cb2-4cc8-a8b7-59519a3d4894" providerId="AD" clId="Web-{D5F9AAFA-F8BA-0E26-9952-DE036852E642}" dt="2023-03-08T18:47:03.185" v="47"/>
          <ac:picMkLst>
            <pc:docMk/>
            <pc:sldMk cId="3640228099" sldId="3536"/>
            <ac:picMk id="5" creationId="{24B2B9DE-E74A-4A2F-9DF5-B2E30F988150}"/>
          </ac:picMkLst>
        </pc:picChg>
      </pc:sldChg>
      <pc:sldChg chg="addSp delSp modSp">
        <pc:chgData name="Vetrano, Nicole" userId="S::nvetrano@bwh.harvard.edu::251ed28a-7cb2-4cc8-a8b7-59519a3d4894" providerId="AD" clId="Web-{D5F9AAFA-F8BA-0E26-9952-DE036852E642}" dt="2023-03-08T18:43:59.148" v="37" actId="1076"/>
        <pc:sldMkLst>
          <pc:docMk/>
          <pc:sldMk cId="2053167649" sldId="3539"/>
        </pc:sldMkLst>
        <pc:spChg chg="del">
          <ac:chgData name="Vetrano, Nicole" userId="S::nvetrano@bwh.harvard.edu::251ed28a-7cb2-4cc8-a8b7-59519a3d4894" providerId="AD" clId="Web-{D5F9AAFA-F8BA-0E26-9952-DE036852E642}" dt="2023-03-08T18:42:14.567" v="23"/>
          <ac:spMkLst>
            <pc:docMk/>
            <pc:sldMk cId="2053167649" sldId="3539"/>
            <ac:spMk id="7" creationId="{D4A0E6E0-37E0-4EAB-8C62-C2697787E2DC}"/>
          </ac:spMkLst>
        </pc:spChg>
        <pc:picChg chg="del">
          <ac:chgData name="Vetrano, Nicole" userId="S::nvetrano@bwh.harvard.edu::251ed28a-7cb2-4cc8-a8b7-59519a3d4894" providerId="AD" clId="Web-{D5F9AAFA-F8BA-0E26-9952-DE036852E642}" dt="2023-03-08T18:42:16.035" v="25"/>
          <ac:picMkLst>
            <pc:docMk/>
            <pc:sldMk cId="2053167649" sldId="3539"/>
            <ac:picMk id="2" creationId="{799D861C-FA36-8F2C-DFDE-581E9AE68BAA}"/>
          </ac:picMkLst>
        </pc:picChg>
        <pc:picChg chg="add mod">
          <ac:chgData name="Vetrano, Nicole" userId="S::nvetrano@bwh.harvard.edu::251ed28a-7cb2-4cc8-a8b7-59519a3d4894" providerId="AD" clId="Web-{D5F9AAFA-F8BA-0E26-9952-DE036852E642}" dt="2023-03-08T18:42:54.255" v="29" actId="1076"/>
          <ac:picMkLst>
            <pc:docMk/>
            <pc:sldMk cId="2053167649" sldId="3539"/>
            <ac:picMk id="3" creationId="{D0918FF5-66C0-DC06-0194-E89D7484FC5C}"/>
          </ac:picMkLst>
        </pc:picChg>
        <pc:picChg chg="add mod">
          <ac:chgData name="Vetrano, Nicole" userId="S::nvetrano@bwh.harvard.edu::251ed28a-7cb2-4cc8-a8b7-59519a3d4894" providerId="AD" clId="Web-{D5F9AAFA-F8BA-0E26-9952-DE036852E642}" dt="2023-03-08T18:43:59.148" v="37" actId="1076"/>
          <ac:picMkLst>
            <pc:docMk/>
            <pc:sldMk cId="2053167649" sldId="3539"/>
            <ac:picMk id="4" creationId="{B9D2B508-AB33-B2EB-200C-2340FCABD35C}"/>
          </ac:picMkLst>
        </pc:picChg>
        <pc:picChg chg="mod">
          <ac:chgData name="Vetrano, Nicole" userId="S::nvetrano@bwh.harvard.edu::251ed28a-7cb2-4cc8-a8b7-59519a3d4894" providerId="AD" clId="Web-{D5F9AAFA-F8BA-0E26-9952-DE036852E642}" dt="2023-03-08T18:42:57.396" v="30" actId="1076"/>
          <ac:picMkLst>
            <pc:docMk/>
            <pc:sldMk cId="2053167649" sldId="3539"/>
            <ac:picMk id="5" creationId="{98944371-2B86-3166-7841-CBFB88B13E12}"/>
          </ac:picMkLst>
        </pc:picChg>
        <pc:picChg chg="del">
          <ac:chgData name="Vetrano, Nicole" userId="S::nvetrano@bwh.harvard.edu::251ed28a-7cb2-4cc8-a8b7-59519a3d4894" providerId="AD" clId="Web-{D5F9AAFA-F8BA-0E26-9952-DE036852E642}" dt="2023-03-08T18:42:15.332" v="24"/>
          <ac:picMkLst>
            <pc:docMk/>
            <pc:sldMk cId="2053167649" sldId="3539"/>
            <ac:picMk id="8" creationId="{DA251D82-35A5-1EDF-839E-6417D6B5CA2B}"/>
          </ac:picMkLst>
        </pc:picChg>
        <pc:picChg chg="del">
          <ac:chgData name="Vetrano, Nicole" userId="S::nvetrano@bwh.harvard.edu::251ed28a-7cb2-4cc8-a8b7-59519a3d4894" providerId="AD" clId="Web-{D5F9AAFA-F8BA-0E26-9952-DE036852E642}" dt="2023-03-08T18:42:17.301" v="26"/>
          <ac:picMkLst>
            <pc:docMk/>
            <pc:sldMk cId="2053167649" sldId="3539"/>
            <ac:picMk id="9" creationId="{72CC2B3A-CCD1-36B6-5F8B-71FA4C56DE7B}"/>
          </ac:picMkLst>
        </pc:picChg>
      </pc:sldChg>
    </pc:docChg>
  </pc:docChgLst>
  <pc:docChgLst>
    <pc:chgData name="Vetrano, Nicole" userId="S::nvetrano@bwh.harvard.edu::251ed28a-7cb2-4cc8-a8b7-59519a3d4894" providerId="AD" clId="Web-{CBE63D92-3D66-5D71-0B6E-40ABF9E76404}"/>
    <pc:docChg chg="modSld">
      <pc:chgData name="Vetrano, Nicole" userId="S::nvetrano@bwh.harvard.edu::251ed28a-7cb2-4cc8-a8b7-59519a3d4894" providerId="AD" clId="Web-{CBE63D92-3D66-5D71-0B6E-40ABF9E76404}" dt="2022-10-07T03:12:10.710" v="122" actId="1076"/>
      <pc:docMkLst>
        <pc:docMk/>
      </pc:docMkLst>
      <pc:sldChg chg="addSp delSp modSp">
        <pc:chgData name="Vetrano, Nicole" userId="S::nvetrano@bwh.harvard.edu::251ed28a-7cb2-4cc8-a8b7-59519a3d4894" providerId="AD" clId="Web-{CBE63D92-3D66-5D71-0B6E-40ABF9E76404}" dt="2022-10-07T03:05:29.002" v="69" actId="1076"/>
        <pc:sldMkLst>
          <pc:docMk/>
          <pc:sldMk cId="4260925014" sldId="3368"/>
        </pc:sldMkLst>
        <pc:spChg chg="del">
          <ac:chgData name="Vetrano, Nicole" userId="S::nvetrano@bwh.harvard.edu::251ed28a-7cb2-4cc8-a8b7-59519a3d4894" providerId="AD" clId="Web-{CBE63D92-3D66-5D71-0B6E-40ABF9E76404}" dt="2022-10-07T03:02:48.525" v="47"/>
          <ac:spMkLst>
            <pc:docMk/>
            <pc:sldMk cId="4260925014" sldId="3368"/>
            <ac:spMk id="6" creationId="{5869A4E9-F0DA-4C97-B055-81D6E68F361E}"/>
          </ac:spMkLst>
        </pc:spChg>
        <pc:picChg chg="add mod">
          <ac:chgData name="Vetrano, Nicole" userId="S::nvetrano@bwh.harvard.edu::251ed28a-7cb2-4cc8-a8b7-59519a3d4894" providerId="AD" clId="Web-{CBE63D92-3D66-5D71-0B6E-40ABF9E76404}" dt="2022-10-07T03:03:37.308" v="52" actId="1076"/>
          <ac:picMkLst>
            <pc:docMk/>
            <pc:sldMk cId="4260925014" sldId="3368"/>
            <ac:picMk id="2" creationId="{AAE19A54-26A4-D021-49D6-08382B417677}"/>
          </ac:picMkLst>
        </pc:picChg>
        <pc:picChg chg="add mod">
          <ac:chgData name="Vetrano, Nicole" userId="S::nvetrano@bwh.harvard.edu::251ed28a-7cb2-4cc8-a8b7-59519a3d4894" providerId="AD" clId="Web-{CBE63D92-3D66-5D71-0B6E-40ABF9E76404}" dt="2022-10-07T03:05:18.126" v="65" actId="1076"/>
          <ac:picMkLst>
            <pc:docMk/>
            <pc:sldMk cId="4260925014" sldId="3368"/>
            <ac:picMk id="3" creationId="{7F57016A-089F-5B94-E966-6AA3D5A8DBF4}"/>
          </ac:picMkLst>
        </pc:picChg>
        <pc:picChg chg="del">
          <ac:chgData name="Vetrano, Nicole" userId="S::nvetrano@bwh.harvard.edu::251ed28a-7cb2-4cc8-a8b7-59519a3d4894" providerId="AD" clId="Web-{CBE63D92-3D66-5D71-0B6E-40ABF9E76404}" dt="2022-10-07T03:03:26.355" v="49"/>
          <ac:picMkLst>
            <pc:docMk/>
            <pc:sldMk cId="4260925014" sldId="3368"/>
            <ac:picMk id="4" creationId="{401B4558-5DF0-4804-BFDC-9D866DD273B3}"/>
          </ac:picMkLst>
        </pc:picChg>
        <pc:picChg chg="add mod">
          <ac:chgData name="Vetrano, Nicole" userId="S::nvetrano@bwh.harvard.edu::251ed28a-7cb2-4cc8-a8b7-59519a3d4894" providerId="AD" clId="Web-{CBE63D92-3D66-5D71-0B6E-40ABF9E76404}" dt="2022-10-07T03:04:40.968" v="59" actId="1076"/>
          <ac:picMkLst>
            <pc:docMk/>
            <pc:sldMk cId="4260925014" sldId="3368"/>
            <ac:picMk id="5" creationId="{98944371-2B86-3166-7841-CBFB88B13E12}"/>
          </ac:picMkLst>
        </pc:picChg>
        <pc:picChg chg="add mod">
          <ac:chgData name="Vetrano, Nicole" userId="S::nvetrano@bwh.harvard.edu::251ed28a-7cb2-4cc8-a8b7-59519a3d4894" providerId="AD" clId="Web-{CBE63D92-3D66-5D71-0B6E-40ABF9E76404}" dt="2022-10-07T03:05:29.002" v="69" actId="1076"/>
          <ac:picMkLst>
            <pc:docMk/>
            <pc:sldMk cId="4260925014" sldId="3368"/>
            <ac:picMk id="7" creationId="{AA77980B-A7A4-7637-3B5E-35BFFB308F96}"/>
          </ac:picMkLst>
        </pc:picChg>
        <pc:picChg chg="del">
          <ac:chgData name="Vetrano, Nicole" userId="S::nvetrano@bwh.harvard.edu::251ed28a-7cb2-4cc8-a8b7-59519a3d4894" providerId="AD" clId="Web-{CBE63D92-3D66-5D71-0B6E-40ABF9E76404}" dt="2022-10-07T03:03:59.575" v="53"/>
          <ac:picMkLst>
            <pc:docMk/>
            <pc:sldMk cId="4260925014" sldId="3368"/>
            <ac:picMk id="10" creationId="{2B04CC81-4F30-4007-8C76-A117DB75EA87}"/>
          </ac:picMkLst>
        </pc:picChg>
        <pc:picChg chg="del">
          <ac:chgData name="Vetrano, Nicole" userId="S::nvetrano@bwh.harvard.edu::251ed28a-7cb2-4cc8-a8b7-59519a3d4894" providerId="AD" clId="Web-{CBE63D92-3D66-5D71-0B6E-40ABF9E76404}" dt="2022-10-07T03:04:10.623" v="57"/>
          <ac:picMkLst>
            <pc:docMk/>
            <pc:sldMk cId="4260925014" sldId="3368"/>
            <ac:picMk id="13" creationId="{ED9978ED-B3DB-46AE-830D-4816C3A5934C}"/>
          </ac:picMkLst>
        </pc:picChg>
      </pc:sldChg>
      <pc:sldChg chg="addSp delSp modSp">
        <pc:chgData name="Vetrano, Nicole" userId="S::nvetrano@bwh.harvard.edu::251ed28a-7cb2-4cc8-a8b7-59519a3d4894" providerId="AD" clId="Web-{CBE63D92-3D66-5D71-0B6E-40ABF9E76404}" dt="2022-10-07T03:07:29.977" v="92" actId="14100"/>
        <pc:sldMkLst>
          <pc:docMk/>
          <pc:sldMk cId="2663093350" sldId="3369"/>
        </pc:sldMkLst>
        <pc:spChg chg="del">
          <ac:chgData name="Vetrano, Nicole" userId="S::nvetrano@bwh.harvard.edu::251ed28a-7cb2-4cc8-a8b7-59519a3d4894" providerId="AD" clId="Web-{CBE63D92-3D66-5D71-0B6E-40ABF9E76404}" dt="2022-10-07T03:05:34.752" v="70"/>
          <ac:spMkLst>
            <pc:docMk/>
            <pc:sldMk cId="2663093350" sldId="3369"/>
            <ac:spMk id="8" creationId="{65534B39-306A-4766-9DAB-14CF1267A674}"/>
          </ac:spMkLst>
        </pc:spChg>
        <pc:picChg chg="add mod">
          <ac:chgData name="Vetrano, Nicole" userId="S::nvetrano@bwh.harvard.edu::251ed28a-7cb2-4cc8-a8b7-59519a3d4894" providerId="AD" clId="Web-{CBE63D92-3D66-5D71-0B6E-40ABF9E76404}" dt="2022-10-07T03:06:04.316" v="76" actId="1076"/>
          <ac:picMkLst>
            <pc:docMk/>
            <pc:sldMk cId="2663093350" sldId="3369"/>
            <ac:picMk id="2" creationId="{06E4CAFA-415C-AE7D-69FE-E9B50EB903EA}"/>
          </ac:picMkLst>
        </pc:picChg>
        <pc:picChg chg="add mod">
          <ac:chgData name="Vetrano, Nicole" userId="S::nvetrano@bwh.harvard.edu::251ed28a-7cb2-4cc8-a8b7-59519a3d4894" providerId="AD" clId="Web-{CBE63D92-3D66-5D71-0B6E-40ABF9E76404}" dt="2022-10-07T03:07:27.539" v="91" actId="1076"/>
          <ac:picMkLst>
            <pc:docMk/>
            <pc:sldMk cId="2663093350" sldId="3369"/>
            <ac:picMk id="3" creationId="{33FF182D-8957-8505-CEF6-CC06EDC0779F}"/>
          </ac:picMkLst>
        </pc:picChg>
        <pc:picChg chg="del">
          <ac:chgData name="Vetrano, Nicole" userId="S::nvetrano@bwh.harvard.edu::251ed28a-7cb2-4cc8-a8b7-59519a3d4894" providerId="AD" clId="Web-{CBE63D92-3D66-5D71-0B6E-40ABF9E76404}" dt="2022-10-07T03:05:39.393" v="72"/>
          <ac:picMkLst>
            <pc:docMk/>
            <pc:sldMk cId="2663093350" sldId="3369"/>
            <ac:picMk id="4" creationId="{81855BFD-B44C-4EA0-BCBC-7BB1371F04BB}"/>
          </ac:picMkLst>
        </pc:picChg>
        <pc:picChg chg="add mod">
          <ac:chgData name="Vetrano, Nicole" userId="S::nvetrano@bwh.harvard.edu::251ed28a-7cb2-4cc8-a8b7-59519a3d4894" providerId="AD" clId="Web-{CBE63D92-3D66-5D71-0B6E-40ABF9E76404}" dt="2022-10-07T03:07:29.977" v="92" actId="14100"/>
          <ac:picMkLst>
            <pc:docMk/>
            <pc:sldMk cId="2663093350" sldId="3369"/>
            <ac:picMk id="5" creationId="{F4DCC82B-49DA-0D7B-BBE0-F724170499CF}"/>
          </ac:picMkLst>
        </pc:picChg>
        <pc:picChg chg="del">
          <ac:chgData name="Vetrano, Nicole" userId="S::nvetrano@bwh.harvard.edu::251ed28a-7cb2-4cc8-a8b7-59519a3d4894" providerId="AD" clId="Web-{CBE63D92-3D66-5D71-0B6E-40ABF9E76404}" dt="2022-10-07T03:05:37.674" v="71"/>
          <ac:picMkLst>
            <pc:docMk/>
            <pc:sldMk cId="2663093350" sldId="3369"/>
            <ac:picMk id="7" creationId="{E18C57FB-EAE2-4423-8A56-EE61EF2B2C0E}"/>
          </ac:picMkLst>
        </pc:picChg>
        <pc:picChg chg="del">
          <ac:chgData name="Vetrano, Nicole" userId="S::nvetrano@bwh.harvard.edu::251ed28a-7cb2-4cc8-a8b7-59519a3d4894" providerId="AD" clId="Web-{CBE63D92-3D66-5D71-0B6E-40ABF9E76404}" dt="2022-10-07T03:05:40.565" v="73"/>
          <ac:picMkLst>
            <pc:docMk/>
            <pc:sldMk cId="2663093350" sldId="3369"/>
            <ac:picMk id="14" creationId="{CF70E71C-19FD-464D-B5DB-C2359C7939F5}"/>
          </ac:picMkLst>
        </pc:picChg>
      </pc:sldChg>
      <pc:sldChg chg="addSp delSp modSp">
        <pc:chgData name="Vetrano, Nicole" userId="S::nvetrano@bwh.harvard.edu::251ed28a-7cb2-4cc8-a8b7-59519a3d4894" providerId="AD" clId="Web-{CBE63D92-3D66-5D71-0B6E-40ABF9E76404}" dt="2022-10-07T03:02:43.228" v="46" actId="1076"/>
        <pc:sldMkLst>
          <pc:docMk/>
          <pc:sldMk cId="427793889" sldId="3388"/>
        </pc:sldMkLst>
        <pc:spChg chg="del">
          <ac:chgData name="Vetrano, Nicole" userId="S::nvetrano@bwh.harvard.edu::251ed28a-7cb2-4cc8-a8b7-59519a3d4894" providerId="AD" clId="Web-{CBE63D92-3D66-5D71-0B6E-40ABF9E76404}" dt="2022-10-07T02:59:36.343" v="26"/>
          <ac:spMkLst>
            <pc:docMk/>
            <pc:sldMk cId="427793889" sldId="3388"/>
            <ac:spMk id="2" creationId="{13AEB2A1-05BC-44DE-B5FF-4958017B9A5A}"/>
          </ac:spMkLst>
        </pc:spChg>
        <pc:picChg chg="add del mod">
          <ac:chgData name="Vetrano, Nicole" userId="S::nvetrano@bwh.harvard.edu::251ed28a-7cb2-4cc8-a8b7-59519a3d4894" providerId="AD" clId="Web-{CBE63D92-3D66-5D71-0B6E-40ABF9E76404}" dt="2022-10-07T03:01:07.863" v="31"/>
          <ac:picMkLst>
            <pc:docMk/>
            <pc:sldMk cId="427793889" sldId="3388"/>
            <ac:picMk id="3" creationId="{F873551C-6CEB-D752-BCEF-59F7DC368F9F}"/>
          </ac:picMkLst>
        </pc:picChg>
        <pc:picChg chg="del">
          <ac:chgData name="Vetrano, Nicole" userId="S::nvetrano@bwh.harvard.edu::251ed28a-7cb2-4cc8-a8b7-59519a3d4894" providerId="AD" clId="Web-{CBE63D92-3D66-5D71-0B6E-40ABF9E76404}" dt="2022-10-07T02:59:39.702" v="27"/>
          <ac:picMkLst>
            <pc:docMk/>
            <pc:sldMk cId="427793889" sldId="3388"/>
            <ac:picMk id="4" creationId="{7A812B31-875B-42C9-BACD-A551C5DF0ED8}"/>
          </ac:picMkLst>
        </pc:picChg>
        <pc:picChg chg="add del mod">
          <ac:chgData name="Vetrano, Nicole" userId="S::nvetrano@bwh.harvard.edu::251ed28a-7cb2-4cc8-a8b7-59519a3d4894" providerId="AD" clId="Web-{CBE63D92-3D66-5D71-0B6E-40ABF9E76404}" dt="2022-10-07T03:01:45.490" v="33"/>
          <ac:picMkLst>
            <pc:docMk/>
            <pc:sldMk cId="427793889" sldId="3388"/>
            <ac:picMk id="5" creationId="{F5D41D1F-8A17-88A0-7A03-B240EA032BE4}"/>
          </ac:picMkLst>
        </pc:picChg>
        <pc:picChg chg="add del mod">
          <ac:chgData name="Vetrano, Nicole" userId="S::nvetrano@bwh.harvard.edu::251ed28a-7cb2-4cc8-a8b7-59519a3d4894" providerId="AD" clId="Web-{CBE63D92-3D66-5D71-0B6E-40ABF9E76404}" dt="2022-10-07T03:02:17.976" v="38"/>
          <ac:picMkLst>
            <pc:docMk/>
            <pc:sldMk cId="427793889" sldId="3388"/>
            <ac:picMk id="6" creationId="{4DFE3F26-417A-775A-B3AC-D19B284C6493}"/>
          </ac:picMkLst>
        </pc:picChg>
        <pc:picChg chg="add mod">
          <ac:chgData name="Vetrano, Nicole" userId="S::nvetrano@bwh.harvard.edu::251ed28a-7cb2-4cc8-a8b7-59519a3d4894" providerId="AD" clId="Web-{CBE63D92-3D66-5D71-0B6E-40ABF9E76404}" dt="2022-10-07T03:02:43.228" v="46" actId="1076"/>
          <ac:picMkLst>
            <pc:docMk/>
            <pc:sldMk cId="427793889" sldId="3388"/>
            <ac:picMk id="8" creationId="{81CBC70A-D1A4-42C2-C7D7-B328038BBD54}"/>
          </ac:picMkLst>
        </pc:picChg>
      </pc:sldChg>
      <pc:sldChg chg="addSp delSp modSp">
        <pc:chgData name="Vetrano, Nicole" userId="S::nvetrano@bwh.harvard.edu::251ed28a-7cb2-4cc8-a8b7-59519a3d4894" providerId="AD" clId="Web-{CBE63D92-3D66-5D71-0B6E-40ABF9E76404}" dt="2022-10-07T03:08:51.981" v="98" actId="1076"/>
        <pc:sldMkLst>
          <pc:docMk/>
          <pc:sldMk cId="240661228" sldId="3423"/>
        </pc:sldMkLst>
        <pc:spChg chg="del">
          <ac:chgData name="Vetrano, Nicole" userId="S::nvetrano@bwh.harvard.edu::251ed28a-7cb2-4cc8-a8b7-59519a3d4894" providerId="AD" clId="Web-{CBE63D92-3D66-5D71-0B6E-40ABF9E76404}" dt="2022-10-07T03:07:39.540" v="93"/>
          <ac:spMkLst>
            <pc:docMk/>
            <pc:sldMk cId="240661228" sldId="3423"/>
            <ac:spMk id="5" creationId="{96A7B82D-BFF5-4E5E-B4CB-6106238F6766}"/>
          </ac:spMkLst>
        </pc:spChg>
        <pc:picChg chg="add mod">
          <ac:chgData name="Vetrano, Nicole" userId="S::nvetrano@bwh.harvard.edu::251ed28a-7cb2-4cc8-a8b7-59519a3d4894" providerId="AD" clId="Web-{CBE63D92-3D66-5D71-0B6E-40ABF9E76404}" dt="2022-10-07T03:08:51.981" v="98" actId="1076"/>
          <ac:picMkLst>
            <pc:docMk/>
            <pc:sldMk cId="240661228" sldId="3423"/>
            <ac:picMk id="2" creationId="{6AB8B6EE-263C-847A-9EBF-39D15AB4C54F}"/>
          </ac:picMkLst>
        </pc:picChg>
        <pc:picChg chg="del">
          <ac:chgData name="Vetrano, Nicole" userId="S::nvetrano@bwh.harvard.edu::251ed28a-7cb2-4cc8-a8b7-59519a3d4894" providerId="AD" clId="Web-{CBE63D92-3D66-5D71-0B6E-40ABF9E76404}" dt="2022-10-07T03:07:40.883" v="94"/>
          <ac:picMkLst>
            <pc:docMk/>
            <pc:sldMk cId="240661228" sldId="3423"/>
            <ac:picMk id="4" creationId="{9C1DE4CD-4682-4E89-8C78-AD1EFC96F66E}"/>
          </ac:picMkLst>
        </pc:picChg>
        <pc:picChg chg="del">
          <ac:chgData name="Vetrano, Nicole" userId="S::nvetrano@bwh.harvard.edu::251ed28a-7cb2-4cc8-a8b7-59519a3d4894" providerId="AD" clId="Web-{CBE63D92-3D66-5D71-0B6E-40ABF9E76404}" dt="2022-10-07T03:07:42.352" v="95"/>
          <ac:picMkLst>
            <pc:docMk/>
            <pc:sldMk cId="240661228" sldId="3423"/>
            <ac:picMk id="6" creationId="{8C0E9FC3-78A2-4774-843D-9366387C7AEA}"/>
          </ac:picMkLst>
        </pc:picChg>
      </pc:sldChg>
      <pc:sldChg chg="delSp modSp">
        <pc:chgData name="Vetrano, Nicole" userId="S::nvetrano@bwh.harvard.edu::251ed28a-7cb2-4cc8-a8b7-59519a3d4894" providerId="AD" clId="Web-{CBE63D92-3D66-5D71-0B6E-40ABF9E76404}" dt="2022-10-06T17:46:05.413" v="25" actId="20577"/>
        <pc:sldMkLst>
          <pc:docMk/>
          <pc:sldMk cId="2157829121" sldId="3500"/>
        </pc:sldMkLst>
        <pc:spChg chg="mod">
          <ac:chgData name="Vetrano, Nicole" userId="S::nvetrano@bwh.harvard.edu::251ed28a-7cb2-4cc8-a8b7-59519a3d4894" providerId="AD" clId="Web-{CBE63D92-3D66-5D71-0B6E-40ABF9E76404}" dt="2022-10-06T17:46:05.413" v="25" actId="20577"/>
          <ac:spMkLst>
            <pc:docMk/>
            <pc:sldMk cId="2157829121" sldId="3500"/>
            <ac:spMk id="3" creationId="{DC1FB5CC-EE33-4D67-A5D0-01136FFFBE11}"/>
          </ac:spMkLst>
        </pc:spChg>
        <pc:spChg chg="del">
          <ac:chgData name="Vetrano, Nicole" userId="S::nvetrano@bwh.harvard.edu::251ed28a-7cb2-4cc8-a8b7-59519a3d4894" providerId="AD" clId="Web-{CBE63D92-3D66-5D71-0B6E-40ABF9E76404}" dt="2022-10-06T17:17:47.807" v="6"/>
          <ac:spMkLst>
            <pc:docMk/>
            <pc:sldMk cId="2157829121" sldId="3500"/>
            <ac:spMk id="4" creationId="{79E3C1E5-2690-4642-BB97-FC938D65DD8D}"/>
          </ac:spMkLst>
        </pc:spChg>
      </pc:sldChg>
      <pc:sldChg chg="addSp delSp modSp">
        <pc:chgData name="Vetrano, Nicole" userId="S::nvetrano@bwh.harvard.edu::251ed28a-7cb2-4cc8-a8b7-59519a3d4894" providerId="AD" clId="Web-{CBE63D92-3D66-5D71-0B6E-40ABF9E76404}" dt="2022-10-07T03:09:37.014" v="106" actId="1076"/>
        <pc:sldMkLst>
          <pc:docMk/>
          <pc:sldMk cId="3640228099" sldId="3536"/>
        </pc:sldMkLst>
        <pc:spChg chg="del">
          <ac:chgData name="Vetrano, Nicole" userId="S::nvetrano@bwh.harvard.edu::251ed28a-7cb2-4cc8-a8b7-59519a3d4894" providerId="AD" clId="Web-{CBE63D92-3D66-5D71-0B6E-40ABF9E76404}" dt="2022-10-07T03:08:56.106" v="99"/>
          <ac:spMkLst>
            <pc:docMk/>
            <pc:sldMk cId="3640228099" sldId="3536"/>
            <ac:spMk id="6" creationId="{B30C158B-79D5-4C0E-93EB-21856C8ED290}"/>
          </ac:spMkLst>
        </pc:spChg>
        <pc:picChg chg="add mod">
          <ac:chgData name="Vetrano, Nicole" userId="S::nvetrano@bwh.harvard.edu::251ed28a-7cb2-4cc8-a8b7-59519a3d4894" providerId="AD" clId="Web-{CBE63D92-3D66-5D71-0B6E-40ABF9E76404}" dt="2022-10-07T03:09:37.014" v="106" actId="1076"/>
          <ac:picMkLst>
            <pc:docMk/>
            <pc:sldMk cId="3640228099" sldId="3536"/>
            <ac:picMk id="2" creationId="{A97A92FA-04AD-2AE9-A845-1823BA17B33F}"/>
          </ac:picMkLst>
        </pc:picChg>
        <pc:picChg chg="del">
          <ac:chgData name="Vetrano, Nicole" userId="S::nvetrano@bwh.harvard.edu::251ed28a-7cb2-4cc8-a8b7-59519a3d4894" providerId="AD" clId="Web-{CBE63D92-3D66-5D71-0B6E-40ABF9E76404}" dt="2022-10-07T03:08:57.684" v="100"/>
          <ac:picMkLst>
            <pc:docMk/>
            <pc:sldMk cId="3640228099" sldId="3536"/>
            <ac:picMk id="3" creationId="{AA30AA2D-17B8-4F52-B39F-B8A8936F6E4A}"/>
          </ac:picMkLst>
        </pc:picChg>
      </pc:sldChg>
      <pc:sldChg chg="addSp delSp modSp">
        <pc:chgData name="Vetrano, Nicole" userId="S::nvetrano@bwh.harvard.edu::251ed28a-7cb2-4cc8-a8b7-59519a3d4894" providerId="AD" clId="Web-{CBE63D92-3D66-5D71-0B6E-40ABF9E76404}" dt="2022-10-07T03:11:12.800" v="114" actId="1076"/>
        <pc:sldMkLst>
          <pc:docMk/>
          <pc:sldMk cId="3537679081" sldId="3537"/>
        </pc:sldMkLst>
        <pc:spChg chg="del">
          <ac:chgData name="Vetrano, Nicole" userId="S::nvetrano@bwh.harvard.edu::251ed28a-7cb2-4cc8-a8b7-59519a3d4894" providerId="AD" clId="Web-{CBE63D92-3D66-5D71-0B6E-40ABF9E76404}" dt="2022-10-07T03:09:42.327" v="107"/>
          <ac:spMkLst>
            <pc:docMk/>
            <pc:sldMk cId="3537679081" sldId="3537"/>
            <ac:spMk id="6" creationId="{02AEB444-E062-4097-BE74-289169A409E1}"/>
          </ac:spMkLst>
        </pc:spChg>
        <pc:picChg chg="add mod">
          <ac:chgData name="Vetrano, Nicole" userId="S::nvetrano@bwh.harvard.edu::251ed28a-7cb2-4cc8-a8b7-59519a3d4894" providerId="AD" clId="Web-{CBE63D92-3D66-5D71-0B6E-40ABF9E76404}" dt="2022-10-07T03:11:12.800" v="114" actId="1076"/>
          <ac:picMkLst>
            <pc:docMk/>
            <pc:sldMk cId="3537679081" sldId="3537"/>
            <ac:picMk id="2" creationId="{30E05E60-C183-EFD0-FD90-706AF60BDBD9}"/>
          </ac:picMkLst>
        </pc:picChg>
        <pc:picChg chg="add del mod modCrop">
          <ac:chgData name="Vetrano, Nicole" userId="S::nvetrano@bwh.harvard.edu::251ed28a-7cb2-4cc8-a8b7-59519a3d4894" providerId="AD" clId="Web-{CBE63D92-3D66-5D71-0B6E-40ABF9E76404}" dt="2022-10-07T03:11:01.331" v="111"/>
          <ac:picMkLst>
            <pc:docMk/>
            <pc:sldMk cId="3537679081" sldId="3537"/>
            <ac:picMk id="4" creationId="{6B102E23-0B77-410C-BB7C-2D4E7889B3C9}"/>
          </ac:picMkLst>
        </pc:picChg>
      </pc:sldChg>
      <pc:sldChg chg="addSp delSp modSp">
        <pc:chgData name="Vetrano, Nicole" userId="S::nvetrano@bwh.harvard.edu::251ed28a-7cb2-4cc8-a8b7-59519a3d4894" providerId="AD" clId="Web-{CBE63D92-3D66-5D71-0B6E-40ABF9E76404}" dt="2022-10-07T03:12:10.710" v="122" actId="1076"/>
        <pc:sldMkLst>
          <pc:docMk/>
          <pc:sldMk cId="142062400" sldId="3538"/>
        </pc:sldMkLst>
        <pc:spChg chg="del">
          <ac:chgData name="Vetrano, Nicole" userId="S::nvetrano@bwh.harvard.edu::251ed28a-7cb2-4cc8-a8b7-59519a3d4894" providerId="AD" clId="Web-{CBE63D92-3D66-5D71-0B6E-40ABF9E76404}" dt="2022-10-07T03:11:19.395" v="115"/>
          <ac:spMkLst>
            <pc:docMk/>
            <pc:sldMk cId="142062400" sldId="3538"/>
            <ac:spMk id="5" creationId="{C53EE74E-721F-435F-B7F4-851A1C90EA9B}"/>
          </ac:spMkLst>
        </pc:spChg>
        <pc:picChg chg="add mod">
          <ac:chgData name="Vetrano, Nicole" userId="S::nvetrano@bwh.harvard.edu::251ed28a-7cb2-4cc8-a8b7-59519a3d4894" providerId="AD" clId="Web-{CBE63D92-3D66-5D71-0B6E-40ABF9E76404}" dt="2022-10-07T03:12:10.710" v="122" actId="1076"/>
          <ac:picMkLst>
            <pc:docMk/>
            <pc:sldMk cId="142062400" sldId="3538"/>
            <ac:picMk id="2" creationId="{0DB42742-861F-8C0E-9925-003F5402E2BB}"/>
          </ac:picMkLst>
        </pc:picChg>
        <pc:picChg chg="mod modCrop">
          <ac:chgData name="Vetrano, Nicole" userId="S::nvetrano@bwh.harvard.edu::251ed28a-7cb2-4cc8-a8b7-59519a3d4894" providerId="AD" clId="Web-{CBE63D92-3D66-5D71-0B6E-40ABF9E76404}" dt="2022-10-07T03:11:40.411" v="117"/>
          <ac:picMkLst>
            <pc:docMk/>
            <pc:sldMk cId="142062400" sldId="3538"/>
            <ac:picMk id="4" creationId="{07AA0F58-618F-49DE-95CB-E87396DD74FC}"/>
          </ac:picMkLst>
        </pc:picChg>
      </pc:sldChg>
    </pc:docChg>
  </pc:docChgLst>
  <pc:docChgLst>
    <pc:chgData name="Vetrano, Nicole" userId="S::nvetrano@bwh.harvard.edu::251ed28a-7cb2-4cc8-a8b7-59519a3d4894" providerId="AD" clId="Web-{2AAD395A-F4B9-02B5-E0E7-C12721C929C7}"/>
    <pc:docChg chg="modSld">
      <pc:chgData name="Vetrano, Nicole" userId="S::nvetrano@bwh.harvard.edu::251ed28a-7cb2-4cc8-a8b7-59519a3d4894" providerId="AD" clId="Web-{2AAD395A-F4B9-02B5-E0E7-C12721C929C7}" dt="2023-01-06T21:04:39.682" v="97" actId="20577"/>
      <pc:docMkLst>
        <pc:docMk/>
      </pc:docMkLst>
      <pc:sldChg chg="addSp delSp modSp">
        <pc:chgData name="Vetrano, Nicole" userId="S::nvetrano@bwh.harvard.edu::251ed28a-7cb2-4cc8-a8b7-59519a3d4894" providerId="AD" clId="Web-{2AAD395A-F4B9-02B5-E0E7-C12721C929C7}" dt="2023-01-06T20:48:32.488" v="34" actId="14100"/>
        <pc:sldMkLst>
          <pc:docMk/>
          <pc:sldMk cId="2663093350" sldId="3369"/>
        </pc:sldMkLst>
        <pc:spChg chg="del">
          <ac:chgData name="Vetrano, Nicole" userId="S::nvetrano@bwh.harvard.edu::251ed28a-7cb2-4cc8-a8b7-59519a3d4894" providerId="AD" clId="Web-{2AAD395A-F4B9-02B5-E0E7-C12721C929C7}" dt="2023-01-06T20:47:53.831" v="26"/>
          <ac:spMkLst>
            <pc:docMk/>
            <pc:sldMk cId="2663093350" sldId="3369"/>
            <ac:spMk id="7" creationId="{0D0B740B-FF4E-46CE-B86E-D542CF175AD6}"/>
          </ac:spMkLst>
        </pc:spChg>
        <pc:picChg chg="del">
          <ac:chgData name="Vetrano, Nicole" userId="S::nvetrano@bwh.harvard.edu::251ed28a-7cb2-4cc8-a8b7-59519a3d4894" providerId="AD" clId="Web-{2AAD395A-F4B9-02B5-E0E7-C12721C929C7}" dt="2023-01-06T20:47:54.456" v="27"/>
          <ac:picMkLst>
            <pc:docMk/>
            <pc:sldMk cId="2663093350" sldId="3369"/>
            <ac:picMk id="2" creationId="{1B846EF8-D159-7641-2706-B32D86028D27}"/>
          </ac:picMkLst>
        </pc:picChg>
        <pc:picChg chg="add mod">
          <ac:chgData name="Vetrano, Nicole" userId="S::nvetrano@bwh.harvard.edu::251ed28a-7cb2-4cc8-a8b7-59519a3d4894" providerId="AD" clId="Web-{2AAD395A-F4B9-02B5-E0E7-C12721C929C7}" dt="2023-01-06T20:48:32.488" v="34" actId="14100"/>
          <ac:picMkLst>
            <pc:docMk/>
            <pc:sldMk cId="2663093350" sldId="3369"/>
            <ac:picMk id="3" creationId="{D56195CE-6A15-07B9-F3C7-458A527F4AB5}"/>
          </ac:picMkLst>
        </pc:picChg>
        <pc:picChg chg="del">
          <ac:chgData name="Vetrano, Nicole" userId="S::nvetrano@bwh.harvard.edu::251ed28a-7cb2-4cc8-a8b7-59519a3d4894" providerId="AD" clId="Web-{2AAD395A-F4B9-02B5-E0E7-C12721C929C7}" dt="2023-01-06T20:47:52.768" v="25"/>
          <ac:picMkLst>
            <pc:docMk/>
            <pc:sldMk cId="2663093350" sldId="3369"/>
            <ac:picMk id="4" creationId="{2840AF72-8EF5-944F-6005-8B79330B96B6}"/>
          </ac:picMkLst>
        </pc:picChg>
        <pc:picChg chg="add mod">
          <ac:chgData name="Vetrano, Nicole" userId="S::nvetrano@bwh.harvard.edu::251ed28a-7cb2-4cc8-a8b7-59519a3d4894" providerId="AD" clId="Web-{2AAD395A-F4B9-02B5-E0E7-C12721C929C7}" dt="2023-01-06T20:48:29.082" v="33" actId="1076"/>
          <ac:picMkLst>
            <pc:docMk/>
            <pc:sldMk cId="2663093350" sldId="3369"/>
            <ac:picMk id="5" creationId="{496159F3-17CE-D68A-3D82-ACEF63B2610D}"/>
          </ac:picMkLst>
        </pc:picChg>
      </pc:sldChg>
      <pc:sldChg chg="addSp delSp modSp">
        <pc:chgData name="Vetrano, Nicole" userId="S::nvetrano@bwh.harvard.edu::251ed28a-7cb2-4cc8-a8b7-59519a3d4894" providerId="AD" clId="Web-{2AAD395A-F4B9-02B5-E0E7-C12721C929C7}" dt="2023-01-06T20:46:32.609" v="10" actId="1076"/>
        <pc:sldMkLst>
          <pc:docMk/>
          <pc:sldMk cId="427793889" sldId="3388"/>
        </pc:sldMkLst>
        <pc:spChg chg="del">
          <ac:chgData name="Vetrano, Nicole" userId="S::nvetrano@bwh.harvard.edu::251ed28a-7cb2-4cc8-a8b7-59519a3d4894" providerId="AD" clId="Web-{2AAD395A-F4B9-02B5-E0E7-C12721C929C7}" dt="2023-01-06T20:45:49.185" v="0"/>
          <ac:spMkLst>
            <pc:docMk/>
            <pc:sldMk cId="427793889" sldId="3388"/>
            <ac:spMk id="3" creationId="{8CA9CC18-03EC-4587-8495-D47B8EA3EAEE}"/>
          </ac:spMkLst>
        </pc:spChg>
        <pc:picChg chg="del">
          <ac:chgData name="Vetrano, Nicole" userId="S::nvetrano@bwh.harvard.edu::251ed28a-7cb2-4cc8-a8b7-59519a3d4894" providerId="AD" clId="Web-{2AAD395A-F4B9-02B5-E0E7-C12721C929C7}" dt="2023-01-06T20:45:51.623" v="1"/>
          <ac:picMkLst>
            <pc:docMk/>
            <pc:sldMk cId="427793889" sldId="3388"/>
            <ac:picMk id="2" creationId="{FCB0FEEB-3F80-E583-E6B1-6AF90CAF4382}"/>
          </ac:picMkLst>
        </pc:picChg>
        <pc:picChg chg="add mod ord">
          <ac:chgData name="Vetrano, Nicole" userId="S::nvetrano@bwh.harvard.edu::251ed28a-7cb2-4cc8-a8b7-59519a3d4894" providerId="AD" clId="Web-{2AAD395A-F4B9-02B5-E0E7-C12721C929C7}" dt="2023-01-06T20:46:32.609" v="10" actId="1076"/>
          <ac:picMkLst>
            <pc:docMk/>
            <pc:sldMk cId="427793889" sldId="3388"/>
            <ac:picMk id="4" creationId="{03CF88B6-2736-AC7C-076E-1AD2BB793A12}"/>
          </ac:picMkLst>
        </pc:picChg>
        <pc:picChg chg="del">
          <ac:chgData name="Vetrano, Nicole" userId="S::nvetrano@bwh.harvard.edu::251ed28a-7cb2-4cc8-a8b7-59519a3d4894" providerId="AD" clId="Web-{2AAD395A-F4B9-02B5-E0E7-C12721C929C7}" dt="2023-01-06T20:45:53.310" v="2"/>
          <ac:picMkLst>
            <pc:docMk/>
            <pc:sldMk cId="427793889" sldId="3388"/>
            <ac:picMk id="2050" creationId="{E6F52E8B-19FC-4868-9774-5FDFB0518A56}"/>
          </ac:picMkLst>
        </pc:picChg>
      </pc:sldChg>
      <pc:sldChg chg="addSp delSp modSp">
        <pc:chgData name="Vetrano, Nicole" userId="S::nvetrano@bwh.harvard.edu::251ed28a-7cb2-4cc8-a8b7-59519a3d4894" providerId="AD" clId="Web-{2AAD395A-F4B9-02B5-E0E7-C12721C929C7}" dt="2023-01-06T20:48:55.505" v="42" actId="1076"/>
        <pc:sldMkLst>
          <pc:docMk/>
          <pc:sldMk cId="240661228" sldId="3423"/>
        </pc:sldMkLst>
        <pc:spChg chg="del">
          <ac:chgData name="Vetrano, Nicole" userId="S::nvetrano@bwh.harvard.edu::251ed28a-7cb2-4cc8-a8b7-59519a3d4894" providerId="AD" clId="Web-{2AAD395A-F4B9-02B5-E0E7-C12721C929C7}" dt="2023-01-06T20:48:37.660" v="37"/>
          <ac:spMkLst>
            <pc:docMk/>
            <pc:sldMk cId="240661228" sldId="3423"/>
            <ac:spMk id="7" creationId="{84D3AED2-C4FE-40A0-998C-E040A3BCA308}"/>
          </ac:spMkLst>
        </pc:spChg>
        <pc:picChg chg="del mod">
          <ac:chgData name="Vetrano, Nicole" userId="S::nvetrano@bwh.harvard.edu::251ed28a-7cb2-4cc8-a8b7-59519a3d4894" providerId="AD" clId="Web-{2AAD395A-F4B9-02B5-E0E7-C12721C929C7}" dt="2023-01-06T20:48:36.192" v="36"/>
          <ac:picMkLst>
            <pc:docMk/>
            <pc:sldMk cId="240661228" sldId="3423"/>
            <ac:picMk id="2" creationId="{5B03F5F5-A7A8-EC6B-1BAD-CC0BEDE38373}"/>
          </ac:picMkLst>
        </pc:picChg>
        <pc:picChg chg="add mod">
          <ac:chgData name="Vetrano, Nicole" userId="S::nvetrano@bwh.harvard.edu::251ed28a-7cb2-4cc8-a8b7-59519a3d4894" providerId="AD" clId="Web-{2AAD395A-F4B9-02B5-E0E7-C12721C929C7}" dt="2023-01-06T20:48:55.505" v="42" actId="1076"/>
          <ac:picMkLst>
            <pc:docMk/>
            <pc:sldMk cId="240661228" sldId="3423"/>
            <ac:picMk id="3" creationId="{BD1A3261-B020-CF67-6EFA-A82E96F13A6C}"/>
          </ac:picMkLst>
        </pc:picChg>
      </pc:sldChg>
      <pc:sldChg chg="delSp modSp">
        <pc:chgData name="Vetrano, Nicole" userId="S::nvetrano@bwh.harvard.edu::251ed28a-7cb2-4cc8-a8b7-59519a3d4894" providerId="AD" clId="Web-{2AAD395A-F4B9-02B5-E0E7-C12721C929C7}" dt="2023-01-06T21:04:39.682" v="97" actId="20577"/>
        <pc:sldMkLst>
          <pc:docMk/>
          <pc:sldMk cId="2157829121" sldId="3500"/>
        </pc:sldMkLst>
        <pc:spChg chg="mod">
          <ac:chgData name="Vetrano, Nicole" userId="S::nvetrano@bwh.harvard.edu::251ed28a-7cb2-4cc8-a8b7-59519a3d4894" providerId="AD" clId="Web-{2AAD395A-F4B9-02B5-E0E7-C12721C929C7}" dt="2023-01-06T21:04:39.682" v="97" actId="20577"/>
          <ac:spMkLst>
            <pc:docMk/>
            <pc:sldMk cId="2157829121" sldId="3500"/>
            <ac:spMk id="3" creationId="{DC1FB5CC-EE33-4D67-A5D0-01136FFFBE11}"/>
          </ac:spMkLst>
        </pc:spChg>
        <pc:spChg chg="del">
          <ac:chgData name="Vetrano, Nicole" userId="S::nvetrano@bwh.harvard.edu::251ed28a-7cb2-4cc8-a8b7-59519a3d4894" providerId="AD" clId="Web-{2AAD395A-F4B9-02B5-E0E7-C12721C929C7}" dt="2023-01-06T20:53:21.234" v="82"/>
          <ac:spMkLst>
            <pc:docMk/>
            <pc:sldMk cId="2157829121" sldId="3500"/>
            <ac:spMk id="5" creationId="{E63280BE-C93B-43B1-A50E-5517E64E5746}"/>
          </ac:spMkLst>
        </pc:spChg>
      </pc:sldChg>
      <pc:sldChg chg="addSp delSp modSp">
        <pc:chgData name="Vetrano, Nicole" userId="S::nvetrano@bwh.harvard.edu::251ed28a-7cb2-4cc8-a8b7-59519a3d4894" providerId="AD" clId="Web-{2AAD395A-F4B9-02B5-E0E7-C12721C929C7}" dt="2023-01-06T20:49:28.553" v="52" actId="14100"/>
        <pc:sldMkLst>
          <pc:docMk/>
          <pc:sldMk cId="3640228099" sldId="3536"/>
        </pc:sldMkLst>
        <pc:spChg chg="del">
          <ac:chgData name="Vetrano, Nicole" userId="S::nvetrano@bwh.harvard.edu::251ed28a-7cb2-4cc8-a8b7-59519a3d4894" providerId="AD" clId="Web-{2AAD395A-F4B9-02B5-E0E7-C12721C929C7}" dt="2023-01-06T20:49:08.677" v="43"/>
          <ac:spMkLst>
            <pc:docMk/>
            <pc:sldMk cId="3640228099" sldId="3536"/>
            <ac:spMk id="11" creationId="{51F187CA-8AC1-47F5-8AB5-16CBCBFA5B41}"/>
          </ac:spMkLst>
        </pc:spChg>
        <pc:picChg chg="del">
          <ac:chgData name="Vetrano, Nicole" userId="S::nvetrano@bwh.harvard.edu::251ed28a-7cb2-4cc8-a8b7-59519a3d4894" providerId="AD" clId="Web-{2AAD395A-F4B9-02B5-E0E7-C12721C929C7}" dt="2023-01-06T20:49:09.334" v="44"/>
          <ac:picMkLst>
            <pc:docMk/>
            <pc:sldMk cId="3640228099" sldId="3536"/>
            <ac:picMk id="2" creationId="{B76BDCC3-1E81-D04E-F835-169A39652677}"/>
          </ac:picMkLst>
        </pc:picChg>
        <pc:picChg chg="add mod">
          <ac:chgData name="Vetrano, Nicole" userId="S::nvetrano@bwh.harvard.edu::251ed28a-7cb2-4cc8-a8b7-59519a3d4894" providerId="AD" clId="Web-{2AAD395A-F4B9-02B5-E0E7-C12721C929C7}" dt="2023-01-06T20:49:28.553" v="52" actId="14100"/>
          <ac:picMkLst>
            <pc:docMk/>
            <pc:sldMk cId="3640228099" sldId="3536"/>
            <ac:picMk id="3" creationId="{602C7F3C-0282-E77A-552E-AC2B0A7E01D9}"/>
          </ac:picMkLst>
        </pc:picChg>
      </pc:sldChg>
      <pc:sldChg chg="addSp delSp modSp">
        <pc:chgData name="Vetrano, Nicole" userId="S::nvetrano@bwh.harvard.edu::251ed28a-7cb2-4cc8-a8b7-59519a3d4894" providerId="AD" clId="Web-{2AAD395A-F4B9-02B5-E0E7-C12721C929C7}" dt="2023-01-06T20:49:58.601" v="57" actId="1076"/>
        <pc:sldMkLst>
          <pc:docMk/>
          <pc:sldMk cId="3537679081" sldId="3537"/>
        </pc:sldMkLst>
        <pc:spChg chg="del">
          <ac:chgData name="Vetrano, Nicole" userId="S::nvetrano@bwh.harvard.edu::251ed28a-7cb2-4cc8-a8b7-59519a3d4894" providerId="AD" clId="Web-{2AAD395A-F4B9-02B5-E0E7-C12721C929C7}" dt="2023-01-06T20:49:39.069" v="53"/>
          <ac:spMkLst>
            <pc:docMk/>
            <pc:sldMk cId="3537679081" sldId="3537"/>
            <ac:spMk id="7" creationId="{24EA28A6-83A9-4A51-BC8F-825EC8BE1B02}"/>
          </ac:spMkLst>
        </pc:spChg>
        <pc:picChg chg="del">
          <ac:chgData name="Vetrano, Nicole" userId="S::nvetrano@bwh.harvard.edu::251ed28a-7cb2-4cc8-a8b7-59519a3d4894" providerId="AD" clId="Web-{2AAD395A-F4B9-02B5-E0E7-C12721C929C7}" dt="2023-01-06T20:49:41.788" v="54"/>
          <ac:picMkLst>
            <pc:docMk/>
            <pc:sldMk cId="3537679081" sldId="3537"/>
            <ac:picMk id="2" creationId="{919255FC-2CE5-6E71-EE6C-1CEEB9419D88}"/>
          </ac:picMkLst>
        </pc:picChg>
        <pc:picChg chg="add mod">
          <ac:chgData name="Vetrano, Nicole" userId="S::nvetrano@bwh.harvard.edu::251ed28a-7cb2-4cc8-a8b7-59519a3d4894" providerId="AD" clId="Web-{2AAD395A-F4B9-02B5-E0E7-C12721C929C7}" dt="2023-01-06T20:49:58.601" v="57" actId="1076"/>
          <ac:picMkLst>
            <pc:docMk/>
            <pc:sldMk cId="3537679081" sldId="3537"/>
            <ac:picMk id="3" creationId="{C2CFEDFD-DA9F-F081-B3F2-21EB25FC56AB}"/>
          </ac:picMkLst>
        </pc:picChg>
      </pc:sldChg>
      <pc:sldChg chg="addSp delSp modSp">
        <pc:chgData name="Vetrano, Nicole" userId="S::nvetrano@bwh.harvard.edu::251ed28a-7cb2-4cc8-a8b7-59519a3d4894" providerId="AD" clId="Web-{2AAD395A-F4B9-02B5-E0E7-C12721C929C7}" dt="2023-01-06T20:47:45.377" v="24" actId="14100"/>
        <pc:sldMkLst>
          <pc:docMk/>
          <pc:sldMk cId="2053167649" sldId="3539"/>
        </pc:sldMkLst>
        <pc:spChg chg="del">
          <ac:chgData name="Vetrano, Nicole" userId="S::nvetrano@bwh.harvard.edu::251ed28a-7cb2-4cc8-a8b7-59519a3d4894" providerId="AD" clId="Web-{2AAD395A-F4B9-02B5-E0E7-C12721C929C7}" dt="2023-01-06T20:46:35.796" v="11"/>
          <ac:spMkLst>
            <pc:docMk/>
            <pc:sldMk cId="2053167649" sldId="3539"/>
            <ac:spMk id="7" creationId="{735BA9C4-71A0-4AC4-8223-6D58D72C9A9E}"/>
          </ac:spMkLst>
        </pc:spChg>
        <pc:picChg chg="del">
          <ac:chgData name="Vetrano, Nicole" userId="S::nvetrano@bwh.harvard.edu::251ed28a-7cb2-4cc8-a8b7-59519a3d4894" providerId="AD" clId="Web-{2AAD395A-F4B9-02B5-E0E7-C12721C929C7}" dt="2023-01-06T20:46:37.640" v="12"/>
          <ac:picMkLst>
            <pc:docMk/>
            <pc:sldMk cId="2053167649" sldId="3539"/>
            <ac:picMk id="2" creationId="{B3633E5B-3D53-7512-9D53-D80D79062DDA}"/>
          </ac:picMkLst>
        </pc:picChg>
        <pc:picChg chg="add mod">
          <ac:chgData name="Vetrano, Nicole" userId="S::nvetrano@bwh.harvard.edu::251ed28a-7cb2-4cc8-a8b7-59519a3d4894" providerId="AD" clId="Web-{2AAD395A-F4B9-02B5-E0E7-C12721C929C7}" dt="2023-01-06T20:47:08.641" v="20" actId="14100"/>
          <ac:picMkLst>
            <pc:docMk/>
            <pc:sldMk cId="2053167649" sldId="3539"/>
            <ac:picMk id="3" creationId="{D037E1B9-27FE-37A1-A353-4EF741DE8933}"/>
          </ac:picMkLst>
        </pc:picChg>
        <pc:picChg chg="del">
          <ac:chgData name="Vetrano, Nicole" userId="S::nvetrano@bwh.harvard.edu::251ed28a-7cb2-4cc8-a8b7-59519a3d4894" providerId="AD" clId="Web-{2AAD395A-F4B9-02B5-E0E7-C12721C929C7}" dt="2023-01-06T20:46:38.625" v="13"/>
          <ac:picMkLst>
            <pc:docMk/>
            <pc:sldMk cId="2053167649" sldId="3539"/>
            <ac:picMk id="4" creationId="{A6FE55D3-75DB-9F9B-B32E-AAC97E819984}"/>
          </ac:picMkLst>
        </pc:picChg>
        <pc:picChg chg="add mod">
          <ac:chgData name="Vetrano, Nicole" userId="S::nvetrano@bwh.harvard.edu::251ed28a-7cb2-4cc8-a8b7-59519a3d4894" providerId="AD" clId="Web-{2AAD395A-F4B9-02B5-E0E7-C12721C929C7}" dt="2023-01-06T20:47:45.377" v="24" actId="14100"/>
          <ac:picMkLst>
            <pc:docMk/>
            <pc:sldMk cId="2053167649" sldId="3539"/>
            <ac:picMk id="6" creationId="{284463B8-D28E-D853-6683-95CC3A7E6660}"/>
          </ac:picMkLst>
        </pc:picChg>
      </pc:sldChg>
      <pc:sldChg chg="addSp delSp modSp">
        <pc:chgData name="Vetrano, Nicole" userId="S::nvetrano@bwh.harvard.edu::251ed28a-7cb2-4cc8-a8b7-59519a3d4894" providerId="AD" clId="Web-{2AAD395A-F4B9-02B5-E0E7-C12721C929C7}" dt="2023-01-06T20:51:04.619" v="70" actId="1076"/>
        <pc:sldMkLst>
          <pc:docMk/>
          <pc:sldMk cId="3467862585" sldId="3540"/>
        </pc:sldMkLst>
        <pc:spChg chg="mod">
          <ac:chgData name="Vetrano, Nicole" userId="S::nvetrano@bwh.harvard.edu::251ed28a-7cb2-4cc8-a8b7-59519a3d4894" providerId="AD" clId="Web-{2AAD395A-F4B9-02B5-E0E7-C12721C929C7}" dt="2023-01-06T20:51:01.400" v="69" actId="1076"/>
          <ac:spMkLst>
            <pc:docMk/>
            <pc:sldMk cId="3467862585" sldId="3540"/>
            <ac:spMk id="12" creationId="{E931ECAC-1903-9B4A-925F-095BA5528FD2}"/>
          </ac:spMkLst>
        </pc:spChg>
        <pc:spChg chg="mod">
          <ac:chgData name="Vetrano, Nicole" userId="S::nvetrano@bwh.harvard.edu::251ed28a-7cb2-4cc8-a8b7-59519a3d4894" providerId="AD" clId="Web-{2AAD395A-F4B9-02B5-E0E7-C12721C929C7}" dt="2023-01-06T20:51:04.619" v="70" actId="1076"/>
          <ac:spMkLst>
            <pc:docMk/>
            <pc:sldMk cId="3467862585" sldId="3540"/>
            <ac:spMk id="13" creationId="{2775D1DB-8625-5301-8570-3B4F1AA57106}"/>
          </ac:spMkLst>
        </pc:spChg>
        <pc:spChg chg="del">
          <ac:chgData name="Vetrano, Nicole" userId="S::nvetrano@bwh.harvard.edu::251ed28a-7cb2-4cc8-a8b7-59519a3d4894" providerId="AD" clId="Web-{2AAD395A-F4B9-02B5-E0E7-C12721C929C7}" dt="2023-01-06T20:50:01.851" v="58"/>
          <ac:spMkLst>
            <pc:docMk/>
            <pc:sldMk cId="3467862585" sldId="3540"/>
            <ac:spMk id="15" creationId="{76C9CF04-ADB7-4ED8-AC5F-83A48FBB6835}"/>
          </ac:spMkLst>
        </pc:spChg>
        <pc:picChg chg="del">
          <ac:chgData name="Vetrano, Nicole" userId="S::nvetrano@bwh.harvard.edu::251ed28a-7cb2-4cc8-a8b7-59519a3d4894" providerId="AD" clId="Web-{2AAD395A-F4B9-02B5-E0E7-C12721C929C7}" dt="2023-01-06T20:50:07.664" v="59"/>
          <ac:picMkLst>
            <pc:docMk/>
            <pc:sldMk cId="3467862585" sldId="3540"/>
            <ac:picMk id="2" creationId="{40B7A345-0EF0-74C0-3E62-7AEEE141692D}"/>
          </ac:picMkLst>
        </pc:picChg>
        <pc:picChg chg="del">
          <ac:chgData name="Vetrano, Nicole" userId="S::nvetrano@bwh.harvard.edu::251ed28a-7cb2-4cc8-a8b7-59519a3d4894" providerId="AD" clId="Web-{2AAD395A-F4B9-02B5-E0E7-C12721C929C7}" dt="2023-01-06T20:50:53.713" v="67"/>
          <ac:picMkLst>
            <pc:docMk/>
            <pc:sldMk cId="3467862585" sldId="3540"/>
            <ac:picMk id="3" creationId="{1273566E-8EA6-7B5C-F562-34757901C3C9}"/>
          </ac:picMkLst>
        </pc:picChg>
        <pc:picChg chg="add mod ord">
          <ac:chgData name="Vetrano, Nicole" userId="S::nvetrano@bwh.harvard.edu::251ed28a-7cb2-4cc8-a8b7-59519a3d4894" providerId="AD" clId="Web-{2AAD395A-F4B9-02B5-E0E7-C12721C929C7}" dt="2023-01-06T20:50:57.025" v="68" actId="14100"/>
          <ac:picMkLst>
            <pc:docMk/>
            <pc:sldMk cId="3467862585" sldId="3540"/>
            <ac:picMk id="5" creationId="{823E11ED-4F34-5074-B36D-343B91944CE0}"/>
          </ac:picMkLst>
        </pc:picChg>
      </pc:sldChg>
    </pc:docChg>
  </pc:docChgLst>
  <pc:docChgLst>
    <pc:chgData name="Vetrano, Nicole" userId="S::nvetrano@bwh.harvard.edu::251ed28a-7cb2-4cc8-a8b7-59519a3d4894" providerId="AD" clId="Web-{61E06BF0-F8A4-338C-BD2A-D00043DA3BB6}"/>
    <pc:docChg chg="modSld">
      <pc:chgData name="Vetrano, Nicole" userId="S::nvetrano@bwh.harvard.edu::251ed28a-7cb2-4cc8-a8b7-59519a3d4894" providerId="AD" clId="Web-{61E06BF0-F8A4-338C-BD2A-D00043DA3BB6}" dt="2023-03-08T18:59:08.454" v="50" actId="1076"/>
      <pc:docMkLst>
        <pc:docMk/>
      </pc:docMkLst>
      <pc:sldChg chg="modSp">
        <pc:chgData name="Vetrano, Nicole" userId="S::nvetrano@bwh.harvard.edu::251ed28a-7cb2-4cc8-a8b7-59519a3d4894" providerId="AD" clId="Web-{61E06BF0-F8A4-338C-BD2A-D00043DA3BB6}" dt="2023-03-08T18:56:51.387" v="23" actId="20577"/>
        <pc:sldMkLst>
          <pc:docMk/>
          <pc:sldMk cId="2157829121" sldId="3500"/>
        </pc:sldMkLst>
        <pc:spChg chg="mod">
          <ac:chgData name="Vetrano, Nicole" userId="S::nvetrano@bwh.harvard.edu::251ed28a-7cb2-4cc8-a8b7-59519a3d4894" providerId="AD" clId="Web-{61E06BF0-F8A4-338C-BD2A-D00043DA3BB6}" dt="2023-03-08T18:56:51.387" v="23" actId="20577"/>
          <ac:spMkLst>
            <pc:docMk/>
            <pc:sldMk cId="2157829121" sldId="3500"/>
            <ac:spMk id="3" creationId="{DC1FB5CC-EE33-4D67-A5D0-01136FFFBE11}"/>
          </ac:spMkLst>
        </pc:spChg>
      </pc:sldChg>
      <pc:sldChg chg="addSp delSp modSp">
        <pc:chgData name="Vetrano, Nicole" userId="S::nvetrano@bwh.harvard.edu::251ed28a-7cb2-4cc8-a8b7-59519a3d4894" providerId="AD" clId="Web-{61E06BF0-F8A4-338C-BD2A-D00043DA3BB6}" dt="2023-03-08T18:57:33.607" v="30" actId="1076"/>
        <pc:sldMkLst>
          <pc:docMk/>
          <pc:sldMk cId="3537679081" sldId="3537"/>
        </pc:sldMkLst>
        <pc:spChg chg="del">
          <ac:chgData name="Vetrano, Nicole" userId="S::nvetrano@bwh.harvard.edu::251ed28a-7cb2-4cc8-a8b7-59519a3d4894" providerId="AD" clId="Web-{61E06BF0-F8A4-338C-BD2A-D00043DA3BB6}" dt="2023-03-08T18:56:55.090" v="24"/>
          <ac:spMkLst>
            <pc:docMk/>
            <pc:sldMk cId="3537679081" sldId="3537"/>
            <ac:spMk id="7" creationId="{1D4D44F0-CC50-4F5A-A73E-23468A653A35}"/>
          </ac:spMkLst>
        </pc:spChg>
        <pc:picChg chg="add mod">
          <ac:chgData name="Vetrano, Nicole" userId="S::nvetrano@bwh.harvard.edu::251ed28a-7cb2-4cc8-a8b7-59519a3d4894" providerId="AD" clId="Web-{61E06BF0-F8A4-338C-BD2A-D00043DA3BB6}" dt="2023-03-08T18:57:33.607" v="30" actId="1076"/>
          <ac:picMkLst>
            <pc:docMk/>
            <pc:sldMk cId="3537679081" sldId="3537"/>
            <ac:picMk id="2" creationId="{BE0E3745-376F-95F3-8783-9FCED58C2B91}"/>
          </ac:picMkLst>
        </pc:picChg>
        <pc:picChg chg="del">
          <ac:chgData name="Vetrano, Nicole" userId="S::nvetrano@bwh.harvard.edu::251ed28a-7cb2-4cc8-a8b7-59519a3d4894" providerId="AD" clId="Web-{61E06BF0-F8A4-338C-BD2A-D00043DA3BB6}" dt="2023-03-08T18:56:56.153" v="25"/>
          <ac:picMkLst>
            <pc:docMk/>
            <pc:sldMk cId="3537679081" sldId="3537"/>
            <ac:picMk id="3" creationId="{552F7FF4-5E8D-0F83-FA73-D507E7E68CA6}"/>
          </ac:picMkLst>
        </pc:picChg>
      </pc:sldChg>
      <pc:sldChg chg="addSp delSp modSp">
        <pc:chgData name="Vetrano, Nicole" userId="S::nvetrano@bwh.harvard.edu::251ed28a-7cb2-4cc8-a8b7-59519a3d4894" providerId="AD" clId="Web-{61E06BF0-F8A4-338C-BD2A-D00043DA3BB6}" dt="2023-03-08T18:59:08.454" v="50" actId="1076"/>
        <pc:sldMkLst>
          <pc:docMk/>
          <pc:sldMk cId="3467862585" sldId="3540"/>
        </pc:sldMkLst>
        <pc:spChg chg="del">
          <ac:chgData name="Vetrano, Nicole" userId="S::nvetrano@bwh.harvard.edu::251ed28a-7cb2-4cc8-a8b7-59519a3d4894" providerId="AD" clId="Web-{61E06BF0-F8A4-338C-BD2A-D00043DA3BB6}" dt="2023-03-08T18:57:38.185" v="31"/>
          <ac:spMkLst>
            <pc:docMk/>
            <pc:sldMk cId="3467862585" sldId="3540"/>
            <ac:spMk id="11" creationId="{73614219-7EA0-41D2-970A-D4ADA7A5A095}"/>
          </ac:spMkLst>
        </pc:spChg>
        <pc:spChg chg="mod">
          <ac:chgData name="Vetrano, Nicole" userId="S::nvetrano@bwh.harvard.edu::251ed28a-7cb2-4cc8-a8b7-59519a3d4894" providerId="AD" clId="Web-{61E06BF0-F8A4-338C-BD2A-D00043DA3BB6}" dt="2023-03-08T18:59:08.454" v="50" actId="1076"/>
          <ac:spMkLst>
            <pc:docMk/>
            <pc:sldMk cId="3467862585" sldId="3540"/>
            <ac:spMk id="12" creationId="{E931ECAC-1903-9B4A-925F-095BA5528FD2}"/>
          </ac:spMkLst>
        </pc:spChg>
        <pc:spChg chg="mod">
          <ac:chgData name="Vetrano, Nicole" userId="S::nvetrano@bwh.harvard.edu::251ed28a-7cb2-4cc8-a8b7-59519a3d4894" providerId="AD" clId="Web-{61E06BF0-F8A4-338C-BD2A-D00043DA3BB6}" dt="2023-03-08T18:59:01.157" v="48" actId="1076"/>
          <ac:spMkLst>
            <pc:docMk/>
            <pc:sldMk cId="3467862585" sldId="3540"/>
            <ac:spMk id="13" creationId="{2775D1DB-8625-5301-8570-3B4F1AA57106}"/>
          </ac:spMkLst>
        </pc:spChg>
        <pc:picChg chg="del">
          <ac:chgData name="Vetrano, Nicole" userId="S::nvetrano@bwh.harvard.edu::251ed28a-7cb2-4cc8-a8b7-59519a3d4894" providerId="AD" clId="Web-{61E06BF0-F8A4-338C-BD2A-D00043DA3BB6}" dt="2023-03-08T18:57:40.279" v="32"/>
          <ac:picMkLst>
            <pc:docMk/>
            <pc:sldMk cId="3467862585" sldId="3540"/>
            <ac:picMk id="2" creationId="{91366211-3E6E-34AD-0D21-0D09FAED0854}"/>
          </ac:picMkLst>
        </pc:picChg>
        <pc:picChg chg="add mod ord">
          <ac:chgData name="Vetrano, Nicole" userId="S::nvetrano@bwh.harvard.edu::251ed28a-7cb2-4cc8-a8b7-59519a3d4894" providerId="AD" clId="Web-{61E06BF0-F8A4-338C-BD2A-D00043DA3BB6}" dt="2023-03-08T18:58:29.015" v="39" actId="1076"/>
          <ac:picMkLst>
            <pc:docMk/>
            <pc:sldMk cId="3467862585" sldId="3540"/>
            <ac:picMk id="3" creationId="{1B150AAC-EDBD-0771-A944-36A4009B98FA}"/>
          </ac:picMkLst>
        </pc:picChg>
      </pc:sldChg>
    </pc:docChg>
  </pc:docChgLst>
  <pc:docChgLst>
    <pc:chgData name="Vetrano, Nicole" userId="S::nvetrano@bwh.harvard.edu::251ed28a-7cb2-4cc8-a8b7-59519a3d4894" providerId="AD" clId="Web-{55153FF4-296B-41AC-A0D9-5026BC25BE18}"/>
    <pc:docChg chg="modSld">
      <pc:chgData name="Vetrano, Nicole" userId="S::nvetrano@bwh.harvard.edu::251ed28a-7cb2-4cc8-a8b7-59519a3d4894" providerId="AD" clId="Web-{55153FF4-296B-41AC-A0D9-5026BC25BE18}" dt="2023-02-03T17:49:23.669" v="36" actId="20577"/>
      <pc:docMkLst>
        <pc:docMk/>
      </pc:docMkLst>
      <pc:sldChg chg="addSp delSp modSp">
        <pc:chgData name="Vetrano, Nicole" userId="S::nvetrano@bwh.harvard.edu::251ed28a-7cb2-4cc8-a8b7-59519a3d4894" providerId="AD" clId="Web-{55153FF4-296B-41AC-A0D9-5026BC25BE18}" dt="2023-02-03T17:48:46.965" v="26" actId="1076"/>
        <pc:sldMkLst>
          <pc:docMk/>
          <pc:sldMk cId="427793889" sldId="3388"/>
        </pc:sldMkLst>
        <pc:spChg chg="add mod">
          <ac:chgData name="Vetrano, Nicole" userId="S::nvetrano@bwh.harvard.edu::251ed28a-7cb2-4cc8-a8b7-59519a3d4894" providerId="AD" clId="Web-{55153FF4-296B-41AC-A0D9-5026BC25BE18}" dt="2023-02-03T17:48:46.965" v="26" actId="1076"/>
          <ac:spMkLst>
            <pc:docMk/>
            <pc:sldMk cId="427793889" sldId="3388"/>
            <ac:spMk id="2" creationId="{5F58563F-1DA8-F1AD-9E58-4304B7CBC3AB}"/>
          </ac:spMkLst>
        </pc:spChg>
        <pc:picChg chg="add del mod modCrop">
          <ac:chgData name="Vetrano, Nicole" userId="S::nvetrano@bwh.harvard.edu::251ed28a-7cb2-4cc8-a8b7-59519a3d4894" providerId="AD" clId="Web-{55153FF4-296B-41AC-A0D9-5026BC25BE18}" dt="2023-02-03T17:48:16.308" v="3"/>
          <ac:picMkLst>
            <pc:docMk/>
            <pc:sldMk cId="427793889" sldId="3388"/>
            <ac:picMk id="5" creationId="{8031F3B2-5420-25CD-F9E2-051E8E3A967D}"/>
          </ac:picMkLst>
        </pc:picChg>
      </pc:sldChg>
      <pc:sldChg chg="addSp modSp">
        <pc:chgData name="Vetrano, Nicole" userId="S::nvetrano@bwh.harvard.edu::251ed28a-7cb2-4cc8-a8b7-59519a3d4894" providerId="AD" clId="Web-{55153FF4-296B-41AC-A0D9-5026BC25BE18}" dt="2023-02-03T17:49:23.669" v="36" actId="20577"/>
        <pc:sldMkLst>
          <pc:docMk/>
          <pc:sldMk cId="2053167649" sldId="3539"/>
        </pc:sldMkLst>
        <pc:spChg chg="add mod">
          <ac:chgData name="Vetrano, Nicole" userId="S::nvetrano@bwh.harvard.edu::251ed28a-7cb2-4cc8-a8b7-59519a3d4894" providerId="AD" clId="Web-{55153FF4-296B-41AC-A0D9-5026BC25BE18}" dt="2023-02-03T17:49:23.669" v="36" actId="20577"/>
          <ac:spMkLst>
            <pc:docMk/>
            <pc:sldMk cId="2053167649" sldId="3539"/>
            <ac:spMk id="7" creationId="{EA560B82-95F8-FDF1-81C7-B38247CC422F}"/>
          </ac:spMkLst>
        </pc:spChg>
      </pc:sldChg>
    </pc:docChg>
  </pc:docChgLst>
  <pc:docChgLst>
    <pc:chgData name="Qureshi, Taj F." userId="e19f8f9a-4b04-4f30-b58a-5b568dd505d5" providerId="ADAL" clId="{0588F7C4-2D26-4F45-92DF-2C3FB1C35B8C}"/>
    <pc:docChg chg="modSld">
      <pc:chgData name="Qureshi, Taj F." userId="e19f8f9a-4b04-4f30-b58a-5b568dd505d5" providerId="ADAL" clId="{0588F7C4-2D26-4F45-92DF-2C3FB1C35B8C}" dt="2023-07-11T17:43:15.229" v="0" actId="20577"/>
      <pc:docMkLst>
        <pc:docMk/>
      </pc:docMkLst>
      <pc:sldChg chg="modSp mod">
        <pc:chgData name="Qureshi, Taj F." userId="e19f8f9a-4b04-4f30-b58a-5b568dd505d5" providerId="ADAL" clId="{0588F7C4-2D26-4F45-92DF-2C3FB1C35B8C}" dt="2023-07-11T17:43:15.229" v="0" actId="20577"/>
        <pc:sldMkLst>
          <pc:docMk/>
          <pc:sldMk cId="2157829121" sldId="3500"/>
        </pc:sldMkLst>
        <pc:spChg chg="mod">
          <ac:chgData name="Qureshi, Taj F." userId="e19f8f9a-4b04-4f30-b58a-5b568dd505d5" providerId="ADAL" clId="{0588F7C4-2D26-4F45-92DF-2C3FB1C35B8C}" dt="2023-07-11T17:43:15.229" v="0" actId="20577"/>
          <ac:spMkLst>
            <pc:docMk/>
            <pc:sldMk cId="2157829121" sldId="3500"/>
            <ac:spMk id="3" creationId="{DC1FB5CC-EE33-4D67-A5D0-01136FFFBE11}"/>
          </ac:spMkLst>
        </pc:spChg>
      </pc:sldChg>
    </pc:docChg>
  </pc:docChgLst>
  <pc:docChgLst>
    <pc:chgData name="Vetrano, Nicole" userId="S::nvetrano@bwh.harvard.edu::251ed28a-7cb2-4cc8-a8b7-59519a3d4894" providerId="AD" clId="Web-{1BDAA78C-BEF2-7249-6E41-ED8C762C1445}"/>
    <pc:docChg chg="addSld delSld modSld">
      <pc:chgData name="Vetrano, Nicole" userId="S::nvetrano@bwh.harvard.edu::251ed28a-7cb2-4cc8-a8b7-59519a3d4894" providerId="AD" clId="Web-{1BDAA78C-BEF2-7249-6E41-ED8C762C1445}" dt="2022-11-04T15:57:52.178" v="165" actId="20577"/>
      <pc:docMkLst>
        <pc:docMk/>
      </pc:docMkLst>
      <pc:sldChg chg="delSp del">
        <pc:chgData name="Vetrano, Nicole" userId="S::nvetrano@bwh.harvard.edu::251ed28a-7cb2-4cc8-a8b7-59519a3d4894" providerId="AD" clId="Web-{1BDAA78C-BEF2-7249-6E41-ED8C762C1445}" dt="2022-11-04T13:18:13.720" v="33"/>
        <pc:sldMkLst>
          <pc:docMk/>
          <pc:sldMk cId="4260925014" sldId="3368"/>
        </pc:sldMkLst>
        <pc:spChg chg="del">
          <ac:chgData name="Vetrano, Nicole" userId="S::nvetrano@bwh.harvard.edu::251ed28a-7cb2-4cc8-a8b7-59519a3d4894" providerId="AD" clId="Web-{1BDAA78C-BEF2-7249-6E41-ED8C762C1445}" dt="2022-11-04T13:13:32.259" v="18"/>
          <ac:spMkLst>
            <pc:docMk/>
            <pc:sldMk cId="4260925014" sldId="3368"/>
            <ac:spMk id="8" creationId="{AA103512-617A-4D41-84B6-341AF70CBB16}"/>
          </ac:spMkLst>
        </pc:spChg>
        <pc:picChg chg="del">
          <ac:chgData name="Vetrano, Nicole" userId="S::nvetrano@bwh.harvard.edu::251ed28a-7cb2-4cc8-a8b7-59519a3d4894" providerId="AD" clId="Web-{1BDAA78C-BEF2-7249-6E41-ED8C762C1445}" dt="2022-11-04T13:16:25.811" v="19"/>
          <ac:picMkLst>
            <pc:docMk/>
            <pc:sldMk cId="4260925014" sldId="3368"/>
            <ac:picMk id="2" creationId="{AAE19A54-26A4-D021-49D6-08382B417677}"/>
          </ac:picMkLst>
        </pc:picChg>
        <pc:picChg chg="del">
          <ac:chgData name="Vetrano, Nicole" userId="S::nvetrano@bwh.harvard.edu::251ed28a-7cb2-4cc8-a8b7-59519a3d4894" providerId="AD" clId="Web-{1BDAA78C-BEF2-7249-6E41-ED8C762C1445}" dt="2022-11-04T13:16:29.514" v="20"/>
          <ac:picMkLst>
            <pc:docMk/>
            <pc:sldMk cId="4260925014" sldId="3368"/>
            <ac:picMk id="3" creationId="{7F57016A-089F-5B94-E966-6AA3D5A8DBF4}"/>
          </ac:picMkLst>
        </pc:picChg>
      </pc:sldChg>
      <pc:sldChg chg="addSp delSp modSp">
        <pc:chgData name="Vetrano, Nicole" userId="S::nvetrano@bwh.harvard.edu::251ed28a-7cb2-4cc8-a8b7-59519a3d4894" providerId="AD" clId="Web-{1BDAA78C-BEF2-7249-6E41-ED8C762C1445}" dt="2022-11-04T13:19:22.128" v="49" actId="14100"/>
        <pc:sldMkLst>
          <pc:docMk/>
          <pc:sldMk cId="2663093350" sldId="3369"/>
        </pc:sldMkLst>
        <pc:spChg chg="del">
          <ac:chgData name="Vetrano, Nicole" userId="S::nvetrano@bwh.harvard.edu::251ed28a-7cb2-4cc8-a8b7-59519a3d4894" providerId="AD" clId="Web-{1BDAA78C-BEF2-7249-6E41-ED8C762C1445}" dt="2022-11-04T13:18:18.189" v="34"/>
          <ac:spMkLst>
            <pc:docMk/>
            <pc:sldMk cId="2663093350" sldId="3369"/>
            <ac:spMk id="7" creationId="{2719AEC7-D54D-471C-86C7-48EDDCEF3ACD}"/>
          </ac:spMkLst>
        </pc:spChg>
        <pc:picChg chg="del">
          <ac:chgData name="Vetrano, Nicole" userId="S::nvetrano@bwh.harvard.edu::251ed28a-7cb2-4cc8-a8b7-59519a3d4894" providerId="AD" clId="Web-{1BDAA78C-BEF2-7249-6E41-ED8C762C1445}" dt="2022-11-04T13:18:19.502" v="35"/>
          <ac:picMkLst>
            <pc:docMk/>
            <pc:sldMk cId="2663093350" sldId="3369"/>
            <ac:picMk id="2" creationId="{06E4CAFA-415C-AE7D-69FE-E9B50EB903EA}"/>
          </ac:picMkLst>
        </pc:picChg>
        <pc:picChg chg="del">
          <ac:chgData name="Vetrano, Nicole" userId="S::nvetrano@bwh.harvard.edu::251ed28a-7cb2-4cc8-a8b7-59519a3d4894" providerId="AD" clId="Web-{1BDAA78C-BEF2-7249-6E41-ED8C762C1445}" dt="2022-11-04T13:18:20.205" v="36"/>
          <ac:picMkLst>
            <pc:docMk/>
            <pc:sldMk cId="2663093350" sldId="3369"/>
            <ac:picMk id="3" creationId="{33FF182D-8957-8505-CEF6-CC06EDC0779F}"/>
          </ac:picMkLst>
        </pc:picChg>
        <pc:picChg chg="add mod">
          <ac:chgData name="Vetrano, Nicole" userId="S::nvetrano@bwh.harvard.edu::251ed28a-7cb2-4cc8-a8b7-59519a3d4894" providerId="AD" clId="Web-{1BDAA78C-BEF2-7249-6E41-ED8C762C1445}" dt="2022-11-04T13:18:44.002" v="42" actId="1076"/>
          <ac:picMkLst>
            <pc:docMk/>
            <pc:sldMk cId="2663093350" sldId="3369"/>
            <ac:picMk id="4" creationId="{3AE88BB8-9FE5-A3BC-BCEB-D0C3368213B4}"/>
          </ac:picMkLst>
        </pc:picChg>
        <pc:picChg chg="del">
          <ac:chgData name="Vetrano, Nicole" userId="S::nvetrano@bwh.harvard.edu::251ed28a-7cb2-4cc8-a8b7-59519a3d4894" providerId="AD" clId="Web-{1BDAA78C-BEF2-7249-6E41-ED8C762C1445}" dt="2022-11-04T13:18:20.674" v="37"/>
          <ac:picMkLst>
            <pc:docMk/>
            <pc:sldMk cId="2663093350" sldId="3369"/>
            <ac:picMk id="5" creationId="{F4DCC82B-49DA-0D7B-BBE0-F724170499CF}"/>
          </ac:picMkLst>
        </pc:picChg>
        <pc:picChg chg="add mod">
          <ac:chgData name="Vetrano, Nicole" userId="S::nvetrano@bwh.harvard.edu::251ed28a-7cb2-4cc8-a8b7-59519a3d4894" providerId="AD" clId="Web-{1BDAA78C-BEF2-7249-6E41-ED8C762C1445}" dt="2022-11-04T13:19:22.128" v="49" actId="14100"/>
          <ac:picMkLst>
            <pc:docMk/>
            <pc:sldMk cId="2663093350" sldId="3369"/>
            <ac:picMk id="6" creationId="{8A8A17C4-F14A-2CF6-CB71-82395AFA2C80}"/>
          </ac:picMkLst>
        </pc:picChg>
      </pc:sldChg>
      <pc:sldChg chg="addSp delSp modSp">
        <pc:chgData name="Vetrano, Nicole" userId="S::nvetrano@bwh.harvard.edu::251ed28a-7cb2-4cc8-a8b7-59519a3d4894" providerId="AD" clId="Web-{1BDAA78C-BEF2-7249-6E41-ED8C762C1445}" dt="2022-11-04T13:13:28.243" v="17" actId="1076"/>
        <pc:sldMkLst>
          <pc:docMk/>
          <pc:sldMk cId="427793889" sldId="3388"/>
        </pc:sldMkLst>
        <pc:spChg chg="add del">
          <ac:chgData name="Vetrano, Nicole" userId="S::nvetrano@bwh.harvard.edu::251ed28a-7cb2-4cc8-a8b7-59519a3d4894" providerId="AD" clId="Web-{1BDAA78C-BEF2-7249-6E41-ED8C762C1445}" dt="2022-11-04T13:12:18.992" v="5"/>
          <ac:spMkLst>
            <pc:docMk/>
            <pc:sldMk cId="427793889" sldId="3388"/>
            <ac:spMk id="2" creationId="{726D40D7-73CF-4DAE-8DC7-C09F11F18632}"/>
          </ac:spMkLst>
        </pc:spChg>
        <pc:spChg chg="del">
          <ac:chgData name="Vetrano, Nicole" userId="S::nvetrano@bwh.harvard.edu::251ed28a-7cb2-4cc8-a8b7-59519a3d4894" providerId="AD" clId="Web-{1BDAA78C-BEF2-7249-6E41-ED8C762C1445}" dt="2022-11-04T13:12:02.991" v="0"/>
          <ac:spMkLst>
            <pc:docMk/>
            <pc:sldMk cId="427793889" sldId="3388"/>
            <ac:spMk id="3" creationId="{287353DB-88AF-4A2B-8E00-E88B30BC2B15}"/>
          </ac:spMkLst>
        </pc:spChg>
        <pc:picChg chg="add mod">
          <ac:chgData name="Vetrano, Nicole" userId="S::nvetrano@bwh.harvard.edu::251ed28a-7cb2-4cc8-a8b7-59519a3d4894" providerId="AD" clId="Web-{1BDAA78C-BEF2-7249-6E41-ED8C762C1445}" dt="2022-11-04T13:13:28.243" v="17" actId="1076"/>
          <ac:picMkLst>
            <pc:docMk/>
            <pc:sldMk cId="427793889" sldId="3388"/>
            <ac:picMk id="4" creationId="{7462EABC-9AC3-4849-EE87-83E942668FF8}"/>
          </ac:picMkLst>
        </pc:picChg>
        <pc:picChg chg="add del">
          <ac:chgData name="Vetrano, Nicole" userId="S::nvetrano@bwh.harvard.edu::251ed28a-7cb2-4cc8-a8b7-59519a3d4894" providerId="AD" clId="Web-{1BDAA78C-BEF2-7249-6E41-ED8C762C1445}" dt="2022-11-04T13:12:19.898" v="6"/>
          <ac:picMkLst>
            <pc:docMk/>
            <pc:sldMk cId="427793889" sldId="3388"/>
            <ac:picMk id="8" creationId="{81CBC70A-D1A4-42C2-C7D7-B328038BBD54}"/>
          </ac:picMkLst>
        </pc:picChg>
      </pc:sldChg>
      <pc:sldChg chg="addSp delSp modSp">
        <pc:chgData name="Vetrano, Nicole" userId="S::nvetrano@bwh.harvard.edu::251ed28a-7cb2-4cc8-a8b7-59519a3d4894" providerId="AD" clId="Web-{1BDAA78C-BEF2-7249-6E41-ED8C762C1445}" dt="2022-11-04T13:24:40.309" v="59" actId="1076"/>
        <pc:sldMkLst>
          <pc:docMk/>
          <pc:sldMk cId="240661228" sldId="3423"/>
        </pc:sldMkLst>
        <pc:spChg chg="del">
          <ac:chgData name="Vetrano, Nicole" userId="S::nvetrano@bwh.harvard.edu::251ed28a-7cb2-4cc8-a8b7-59519a3d4894" providerId="AD" clId="Web-{1BDAA78C-BEF2-7249-6E41-ED8C762C1445}" dt="2022-11-04T13:24:05.292" v="50"/>
          <ac:spMkLst>
            <pc:docMk/>
            <pc:sldMk cId="240661228" sldId="3423"/>
            <ac:spMk id="4" creationId="{C4999C95-6487-4A18-BA75-27629B3BCCBF}"/>
          </ac:spMkLst>
        </pc:spChg>
        <pc:picChg chg="del">
          <ac:chgData name="Vetrano, Nicole" userId="S::nvetrano@bwh.harvard.edu::251ed28a-7cb2-4cc8-a8b7-59519a3d4894" providerId="AD" clId="Web-{1BDAA78C-BEF2-7249-6E41-ED8C762C1445}" dt="2022-11-04T13:24:05.980" v="51"/>
          <ac:picMkLst>
            <pc:docMk/>
            <pc:sldMk cId="240661228" sldId="3423"/>
            <ac:picMk id="2" creationId="{6AB8B6EE-263C-847A-9EBF-39D15AB4C54F}"/>
          </ac:picMkLst>
        </pc:picChg>
        <pc:picChg chg="add mod">
          <ac:chgData name="Vetrano, Nicole" userId="S::nvetrano@bwh.harvard.edu::251ed28a-7cb2-4cc8-a8b7-59519a3d4894" providerId="AD" clId="Web-{1BDAA78C-BEF2-7249-6E41-ED8C762C1445}" dt="2022-11-04T13:24:28.402" v="57" actId="14100"/>
          <ac:picMkLst>
            <pc:docMk/>
            <pc:sldMk cId="240661228" sldId="3423"/>
            <ac:picMk id="3" creationId="{0329B926-9BA6-5CBB-4DA2-99FAFEBE6386}"/>
          </ac:picMkLst>
        </pc:picChg>
        <pc:picChg chg="add mod">
          <ac:chgData name="Vetrano, Nicole" userId="S::nvetrano@bwh.harvard.edu::251ed28a-7cb2-4cc8-a8b7-59519a3d4894" providerId="AD" clId="Web-{1BDAA78C-BEF2-7249-6E41-ED8C762C1445}" dt="2022-11-04T13:24:40.309" v="59" actId="1076"/>
          <ac:picMkLst>
            <pc:docMk/>
            <pc:sldMk cId="240661228" sldId="3423"/>
            <ac:picMk id="5" creationId="{B7BCDDBF-E2EA-C96C-6454-0FDE84C0D3AE}"/>
          </ac:picMkLst>
        </pc:picChg>
      </pc:sldChg>
      <pc:sldChg chg="delSp modSp">
        <pc:chgData name="Vetrano, Nicole" userId="S::nvetrano@bwh.harvard.edu::251ed28a-7cb2-4cc8-a8b7-59519a3d4894" providerId="AD" clId="Web-{1BDAA78C-BEF2-7249-6E41-ED8C762C1445}" dt="2022-11-04T15:57:52.178" v="165" actId="20577"/>
        <pc:sldMkLst>
          <pc:docMk/>
          <pc:sldMk cId="2157829121" sldId="3500"/>
        </pc:sldMkLst>
        <pc:spChg chg="mod">
          <ac:chgData name="Vetrano, Nicole" userId="S::nvetrano@bwh.harvard.edu::251ed28a-7cb2-4cc8-a8b7-59519a3d4894" providerId="AD" clId="Web-{1BDAA78C-BEF2-7249-6E41-ED8C762C1445}" dt="2022-11-04T15:57:52.178" v="165" actId="20577"/>
          <ac:spMkLst>
            <pc:docMk/>
            <pc:sldMk cId="2157829121" sldId="3500"/>
            <ac:spMk id="3" creationId="{DC1FB5CC-EE33-4D67-A5D0-01136FFFBE11}"/>
          </ac:spMkLst>
        </pc:spChg>
        <pc:spChg chg="del">
          <ac:chgData name="Vetrano, Nicole" userId="S::nvetrano@bwh.harvard.edu::251ed28a-7cb2-4cc8-a8b7-59519a3d4894" providerId="AD" clId="Web-{1BDAA78C-BEF2-7249-6E41-ED8C762C1445}" dt="2022-11-04T14:39:15.208" v="61"/>
          <ac:spMkLst>
            <pc:docMk/>
            <pc:sldMk cId="2157829121" sldId="3500"/>
            <ac:spMk id="4" creationId="{0F70B232-C93B-4780-9011-14469616B998}"/>
          </ac:spMkLst>
        </pc:spChg>
      </pc:sldChg>
      <pc:sldChg chg="delSp">
        <pc:chgData name="Vetrano, Nicole" userId="S::nvetrano@bwh.harvard.edu::251ed28a-7cb2-4cc8-a8b7-59519a3d4894" providerId="AD" clId="Web-{1BDAA78C-BEF2-7249-6E41-ED8C762C1445}" dt="2022-11-04T13:24:50.528" v="60"/>
        <pc:sldMkLst>
          <pc:docMk/>
          <pc:sldMk cId="3640228099" sldId="3536"/>
        </pc:sldMkLst>
        <pc:spChg chg="del">
          <ac:chgData name="Vetrano, Nicole" userId="S::nvetrano@bwh.harvard.edu::251ed28a-7cb2-4cc8-a8b7-59519a3d4894" providerId="AD" clId="Web-{1BDAA78C-BEF2-7249-6E41-ED8C762C1445}" dt="2022-11-04T13:24:50.528" v="60"/>
          <ac:spMkLst>
            <pc:docMk/>
            <pc:sldMk cId="3640228099" sldId="3536"/>
            <ac:spMk id="6" creationId="{91A6FF07-3717-4888-A925-A8F869CDB1C8}"/>
          </ac:spMkLst>
        </pc:spChg>
      </pc:sldChg>
      <pc:sldChg chg="addSp delSp modSp">
        <pc:chgData name="Vetrano, Nicole" userId="S::nvetrano@bwh.harvard.edu::251ed28a-7cb2-4cc8-a8b7-59519a3d4894" providerId="AD" clId="Web-{1BDAA78C-BEF2-7249-6E41-ED8C762C1445}" dt="2022-11-04T14:42:13.276" v="71" actId="1076"/>
        <pc:sldMkLst>
          <pc:docMk/>
          <pc:sldMk cId="3537679081" sldId="3537"/>
        </pc:sldMkLst>
        <pc:spChg chg="del">
          <ac:chgData name="Vetrano, Nicole" userId="S::nvetrano@bwh.harvard.edu::251ed28a-7cb2-4cc8-a8b7-59519a3d4894" providerId="AD" clId="Web-{1BDAA78C-BEF2-7249-6E41-ED8C762C1445}" dt="2022-11-04T14:40:55.774" v="62"/>
          <ac:spMkLst>
            <pc:docMk/>
            <pc:sldMk cId="3537679081" sldId="3537"/>
            <ac:spMk id="6" creationId="{ED8F50DF-B5BE-4CE0-A02C-83B85326C2CB}"/>
          </ac:spMkLst>
        </pc:spChg>
        <pc:picChg chg="del">
          <ac:chgData name="Vetrano, Nicole" userId="S::nvetrano@bwh.harvard.edu::251ed28a-7cb2-4cc8-a8b7-59519a3d4894" providerId="AD" clId="Web-{1BDAA78C-BEF2-7249-6E41-ED8C762C1445}" dt="2022-11-04T14:40:57.024" v="63"/>
          <ac:picMkLst>
            <pc:docMk/>
            <pc:sldMk cId="3537679081" sldId="3537"/>
            <ac:picMk id="2" creationId="{30E05E60-C183-EFD0-FD90-706AF60BDBD9}"/>
          </ac:picMkLst>
        </pc:picChg>
        <pc:picChg chg="add mod">
          <ac:chgData name="Vetrano, Nicole" userId="S::nvetrano@bwh.harvard.edu::251ed28a-7cb2-4cc8-a8b7-59519a3d4894" providerId="AD" clId="Web-{1BDAA78C-BEF2-7249-6E41-ED8C762C1445}" dt="2022-11-04T14:42:13.276" v="71" actId="1076"/>
          <ac:picMkLst>
            <pc:docMk/>
            <pc:sldMk cId="3537679081" sldId="3537"/>
            <ac:picMk id="3" creationId="{A76E9258-C51A-F2B9-D510-8BAE889C88FA}"/>
          </ac:picMkLst>
        </pc:picChg>
      </pc:sldChg>
      <pc:sldChg chg="addSp delSp modSp">
        <pc:chgData name="Vetrano, Nicole" userId="S::nvetrano@bwh.harvard.edu::251ed28a-7cb2-4cc8-a8b7-59519a3d4894" providerId="AD" clId="Web-{1BDAA78C-BEF2-7249-6E41-ED8C762C1445}" dt="2022-11-04T14:44:51.687" v="104"/>
        <pc:sldMkLst>
          <pc:docMk/>
          <pc:sldMk cId="142062400" sldId="3538"/>
        </pc:sldMkLst>
        <pc:spChg chg="add del">
          <ac:chgData name="Vetrano, Nicole" userId="S::nvetrano@bwh.harvard.edu::251ed28a-7cb2-4cc8-a8b7-59519a3d4894" providerId="AD" clId="Web-{1BDAA78C-BEF2-7249-6E41-ED8C762C1445}" dt="2022-11-04T14:44:37.468" v="98"/>
          <ac:spMkLst>
            <pc:docMk/>
            <pc:sldMk cId="142062400" sldId="3538"/>
            <ac:spMk id="5" creationId="{E3E4EA69-4C59-4043-9674-386FB1E075D2}"/>
          </ac:spMkLst>
        </pc:spChg>
        <pc:spChg chg="add del">
          <ac:chgData name="Vetrano, Nicole" userId="S::nvetrano@bwh.harvard.edu::251ed28a-7cb2-4cc8-a8b7-59519a3d4894" providerId="AD" clId="Web-{1BDAA78C-BEF2-7249-6E41-ED8C762C1445}" dt="2022-11-04T14:44:40.436" v="99"/>
          <ac:spMkLst>
            <pc:docMk/>
            <pc:sldMk cId="142062400" sldId="3538"/>
            <ac:spMk id="6" creationId="{3DC8D254-AAB0-049F-DCEA-590A70CF6812}"/>
          </ac:spMkLst>
        </pc:spChg>
        <pc:spChg chg="add del">
          <ac:chgData name="Vetrano, Nicole" userId="S::nvetrano@bwh.harvard.edu::251ed28a-7cb2-4cc8-a8b7-59519a3d4894" providerId="AD" clId="Web-{1BDAA78C-BEF2-7249-6E41-ED8C762C1445}" dt="2022-11-04T14:44:30.327" v="95"/>
          <ac:spMkLst>
            <pc:docMk/>
            <pc:sldMk cId="142062400" sldId="3538"/>
            <ac:spMk id="7" creationId="{74320071-A61E-4CD3-888D-B9D5B71ED84D}"/>
          </ac:spMkLst>
        </pc:spChg>
        <pc:spChg chg="add del mod">
          <ac:chgData name="Vetrano, Nicole" userId="S::nvetrano@bwh.harvard.edu::251ed28a-7cb2-4cc8-a8b7-59519a3d4894" providerId="AD" clId="Web-{1BDAA78C-BEF2-7249-6E41-ED8C762C1445}" dt="2022-11-04T14:44:45.171" v="101" actId="1076"/>
          <ac:spMkLst>
            <pc:docMk/>
            <pc:sldMk cId="142062400" sldId="3538"/>
            <ac:spMk id="10" creationId="{963FA788-CEB9-449A-91BC-DA8A20631209}"/>
          </ac:spMkLst>
        </pc:spChg>
        <pc:spChg chg="add del">
          <ac:chgData name="Vetrano, Nicole" userId="S::nvetrano@bwh.harvard.edu::251ed28a-7cb2-4cc8-a8b7-59519a3d4894" providerId="AD" clId="Web-{1BDAA78C-BEF2-7249-6E41-ED8C762C1445}" dt="2022-11-04T14:44:25.389" v="93"/>
          <ac:spMkLst>
            <pc:docMk/>
            <pc:sldMk cId="142062400" sldId="3538"/>
            <ac:spMk id="11" creationId="{10E89F49-4310-4669-9770-AA83E86CD086}"/>
          </ac:spMkLst>
        </pc:spChg>
        <pc:spChg chg="del">
          <ac:chgData name="Vetrano, Nicole" userId="S::nvetrano@bwh.harvard.edu::251ed28a-7cb2-4cc8-a8b7-59519a3d4894" providerId="AD" clId="Web-{1BDAA78C-BEF2-7249-6E41-ED8C762C1445}" dt="2022-11-04T14:42:18.714" v="72"/>
          <ac:spMkLst>
            <pc:docMk/>
            <pc:sldMk cId="142062400" sldId="3538"/>
            <ac:spMk id="12" creationId="{B599A321-471D-4FE1-B526-8FF54752BAA3}"/>
          </ac:spMkLst>
        </pc:spChg>
        <pc:spChg chg="add del">
          <ac:chgData name="Vetrano, Nicole" userId="S::nvetrano@bwh.harvard.edu::251ed28a-7cb2-4cc8-a8b7-59519a3d4894" providerId="AD" clId="Web-{1BDAA78C-BEF2-7249-6E41-ED8C762C1445}" dt="2022-11-04T14:44:35.061" v="97"/>
          <ac:spMkLst>
            <pc:docMk/>
            <pc:sldMk cId="142062400" sldId="3538"/>
            <ac:spMk id="13" creationId="{378A829B-B4B1-0ECB-D27D-B168EC731444}"/>
          </ac:spMkLst>
        </pc:spChg>
        <pc:spChg chg="add del">
          <ac:chgData name="Vetrano, Nicole" userId="S::nvetrano@bwh.harvard.edu::251ed28a-7cb2-4cc8-a8b7-59519a3d4894" providerId="AD" clId="Web-{1BDAA78C-BEF2-7249-6E41-ED8C762C1445}" dt="2022-11-04T14:44:27.999" v="94"/>
          <ac:spMkLst>
            <pc:docMk/>
            <pc:sldMk cId="142062400" sldId="3538"/>
            <ac:spMk id="14" creationId="{452A69DE-095F-6D08-8904-7A6E35755D3C}"/>
          </ac:spMkLst>
        </pc:spChg>
        <pc:spChg chg="add del">
          <ac:chgData name="Vetrano, Nicole" userId="S::nvetrano@bwh.harvard.edu::251ed28a-7cb2-4cc8-a8b7-59519a3d4894" providerId="AD" clId="Web-{1BDAA78C-BEF2-7249-6E41-ED8C762C1445}" dt="2022-11-04T14:44:23.030" v="92"/>
          <ac:spMkLst>
            <pc:docMk/>
            <pc:sldMk cId="142062400" sldId="3538"/>
            <ac:spMk id="15" creationId="{80CCCFE2-7288-1D4E-4CA9-BECCD577AD2B}"/>
          </ac:spMkLst>
        </pc:spChg>
        <pc:picChg chg="add del">
          <ac:chgData name="Vetrano, Nicole" userId="S::nvetrano@bwh.harvard.edu::251ed28a-7cb2-4cc8-a8b7-59519a3d4894" providerId="AD" clId="Web-{1BDAA78C-BEF2-7249-6E41-ED8C762C1445}" dt="2022-11-04T14:44:51.687" v="104"/>
          <ac:picMkLst>
            <pc:docMk/>
            <pc:sldMk cId="142062400" sldId="3538"/>
            <ac:picMk id="2" creationId="{0DB42742-861F-8C0E-9925-003F5402E2BB}"/>
          </ac:picMkLst>
        </pc:picChg>
        <pc:picChg chg="add del mod">
          <ac:chgData name="Vetrano, Nicole" userId="S::nvetrano@bwh.harvard.edu::251ed28a-7cb2-4cc8-a8b7-59519a3d4894" providerId="AD" clId="Web-{1BDAA78C-BEF2-7249-6E41-ED8C762C1445}" dt="2022-11-04T14:44:49.390" v="103"/>
          <ac:picMkLst>
            <pc:docMk/>
            <pc:sldMk cId="142062400" sldId="3538"/>
            <ac:picMk id="3" creationId="{DFE6372F-50E6-54F1-8268-6F927BC8609D}"/>
          </ac:picMkLst>
        </pc:picChg>
      </pc:sldChg>
      <pc:sldChg chg="addSp delSp modSp add replId">
        <pc:chgData name="Vetrano, Nicole" userId="S::nvetrano@bwh.harvard.edu::251ed28a-7cb2-4cc8-a8b7-59519a3d4894" providerId="AD" clId="Web-{1BDAA78C-BEF2-7249-6E41-ED8C762C1445}" dt="2022-11-04T13:17:53.657" v="32" actId="1076"/>
        <pc:sldMkLst>
          <pc:docMk/>
          <pc:sldMk cId="2053167649" sldId="3539"/>
        </pc:sldMkLst>
        <pc:picChg chg="add mod">
          <ac:chgData name="Vetrano, Nicole" userId="S::nvetrano@bwh.harvard.edu::251ed28a-7cb2-4cc8-a8b7-59519a3d4894" providerId="AD" clId="Web-{1BDAA78C-BEF2-7249-6E41-ED8C762C1445}" dt="2022-11-04T13:17:19.766" v="24" actId="1076"/>
          <ac:picMkLst>
            <pc:docMk/>
            <pc:sldMk cId="2053167649" sldId="3539"/>
            <ac:picMk id="2" creationId="{48E020D0-28A5-FBAF-2388-34C96E2D0C0A}"/>
          </ac:picMkLst>
        </pc:picChg>
        <pc:picChg chg="add mod">
          <ac:chgData name="Vetrano, Nicole" userId="S::nvetrano@bwh.harvard.edu::251ed28a-7cb2-4cc8-a8b7-59519a3d4894" providerId="AD" clId="Web-{1BDAA78C-BEF2-7249-6E41-ED8C762C1445}" dt="2022-11-04T13:17:53.657" v="32" actId="1076"/>
          <ac:picMkLst>
            <pc:docMk/>
            <pc:sldMk cId="2053167649" sldId="3539"/>
            <ac:picMk id="3" creationId="{FF2A3F74-B640-6B3F-1151-D86D56C9BD7B}"/>
          </ac:picMkLst>
        </pc:picChg>
        <pc:picChg chg="del">
          <ac:chgData name="Vetrano, Nicole" userId="S::nvetrano@bwh.harvard.edu::251ed28a-7cb2-4cc8-a8b7-59519a3d4894" providerId="AD" clId="Web-{1BDAA78C-BEF2-7249-6E41-ED8C762C1445}" dt="2022-11-04T13:17:21" v="25"/>
          <ac:picMkLst>
            <pc:docMk/>
            <pc:sldMk cId="2053167649" sldId="3539"/>
            <ac:picMk id="7" creationId="{AA77980B-A7A4-7637-3B5E-35BFFB308F96}"/>
          </ac:picMkLst>
        </pc:picChg>
      </pc:sldChg>
      <pc:sldChg chg="addSp delSp modSp add replId">
        <pc:chgData name="Vetrano, Nicole" userId="S::nvetrano@bwh.harvard.edu::251ed28a-7cb2-4cc8-a8b7-59519a3d4894" providerId="AD" clId="Web-{1BDAA78C-BEF2-7249-6E41-ED8C762C1445}" dt="2022-11-04T14:46:37.784" v="132" actId="1076"/>
        <pc:sldMkLst>
          <pc:docMk/>
          <pc:sldMk cId="3467862585" sldId="3540"/>
        </pc:sldMkLst>
        <pc:spChg chg="del">
          <ac:chgData name="Vetrano, Nicole" userId="S::nvetrano@bwh.harvard.edu::251ed28a-7cb2-4cc8-a8b7-59519a3d4894" providerId="AD" clId="Web-{1BDAA78C-BEF2-7249-6E41-ED8C762C1445}" dt="2022-11-04T14:45:14.547" v="111"/>
          <ac:spMkLst>
            <pc:docMk/>
            <pc:sldMk cId="3467862585" sldId="3540"/>
            <ac:spMk id="5" creationId="{E3E4EA69-4C59-4043-9674-386FB1E075D2}"/>
          </ac:spMkLst>
        </pc:spChg>
        <pc:spChg chg="add mod">
          <ac:chgData name="Vetrano, Nicole" userId="S::nvetrano@bwh.harvard.edu::251ed28a-7cb2-4cc8-a8b7-59519a3d4894" providerId="AD" clId="Web-{1BDAA78C-BEF2-7249-6E41-ED8C762C1445}" dt="2022-11-04T14:45:30.766" v="118" actId="1076"/>
          <ac:spMkLst>
            <pc:docMk/>
            <pc:sldMk cId="3467862585" sldId="3540"/>
            <ac:spMk id="6" creationId="{04971F98-3CD7-9A35-5AA8-6718D46E30B2}"/>
          </ac:spMkLst>
        </pc:spChg>
        <pc:spChg chg="del">
          <ac:chgData name="Vetrano, Nicole" userId="S::nvetrano@bwh.harvard.edu::251ed28a-7cb2-4cc8-a8b7-59519a3d4894" providerId="AD" clId="Web-{1BDAA78C-BEF2-7249-6E41-ED8C762C1445}" dt="2022-11-04T14:45:14.547" v="112"/>
          <ac:spMkLst>
            <pc:docMk/>
            <pc:sldMk cId="3467862585" sldId="3540"/>
            <ac:spMk id="7" creationId="{74320071-A61E-4CD3-888D-B9D5B71ED84D}"/>
          </ac:spMkLst>
        </pc:spChg>
        <pc:spChg chg="del">
          <ac:chgData name="Vetrano, Nicole" userId="S::nvetrano@bwh.harvard.edu::251ed28a-7cb2-4cc8-a8b7-59519a3d4894" providerId="AD" clId="Web-{1BDAA78C-BEF2-7249-6E41-ED8C762C1445}" dt="2022-11-04T14:45:14.547" v="110"/>
          <ac:spMkLst>
            <pc:docMk/>
            <pc:sldMk cId="3467862585" sldId="3540"/>
            <ac:spMk id="10" creationId="{963FA788-CEB9-449A-91BC-DA8A20631209}"/>
          </ac:spMkLst>
        </pc:spChg>
        <pc:spChg chg="del">
          <ac:chgData name="Vetrano, Nicole" userId="S::nvetrano@bwh.harvard.edu::251ed28a-7cb2-4cc8-a8b7-59519a3d4894" providerId="AD" clId="Web-{1BDAA78C-BEF2-7249-6E41-ED8C762C1445}" dt="2022-11-04T14:45:14.547" v="109"/>
          <ac:spMkLst>
            <pc:docMk/>
            <pc:sldMk cId="3467862585" sldId="3540"/>
            <ac:spMk id="11" creationId="{10E89F49-4310-4669-9770-AA83E86CD086}"/>
          </ac:spMkLst>
        </pc:spChg>
        <pc:spChg chg="add mod">
          <ac:chgData name="Vetrano, Nicole" userId="S::nvetrano@bwh.harvard.edu::251ed28a-7cb2-4cc8-a8b7-59519a3d4894" providerId="AD" clId="Web-{1BDAA78C-BEF2-7249-6E41-ED8C762C1445}" dt="2022-11-04T14:46:37.784" v="132" actId="1076"/>
          <ac:spMkLst>
            <pc:docMk/>
            <pc:sldMk cId="3467862585" sldId="3540"/>
            <ac:spMk id="12" creationId="{E931ECAC-1903-9B4A-925F-095BA5528FD2}"/>
          </ac:spMkLst>
        </pc:spChg>
        <pc:spChg chg="add mod">
          <ac:chgData name="Vetrano, Nicole" userId="S::nvetrano@bwh.harvard.edu::251ed28a-7cb2-4cc8-a8b7-59519a3d4894" providerId="AD" clId="Web-{1BDAA78C-BEF2-7249-6E41-ED8C762C1445}" dt="2022-11-04T14:46:31.346" v="131" actId="1076"/>
          <ac:spMkLst>
            <pc:docMk/>
            <pc:sldMk cId="3467862585" sldId="3540"/>
            <ac:spMk id="13" creationId="{2775D1DB-8625-5301-8570-3B4F1AA57106}"/>
          </ac:spMkLst>
        </pc:spChg>
        <pc:spChg chg="add">
          <ac:chgData name="Vetrano, Nicole" userId="S::nvetrano@bwh.harvard.edu::251ed28a-7cb2-4cc8-a8b7-59519a3d4894" providerId="AD" clId="Web-{1BDAA78C-BEF2-7249-6E41-ED8C762C1445}" dt="2022-11-04T14:45:15.344" v="113"/>
          <ac:spMkLst>
            <pc:docMk/>
            <pc:sldMk cId="3467862585" sldId="3540"/>
            <ac:spMk id="14" creationId="{2BF6CCE9-D319-84BD-34AB-369A645C791E}"/>
          </ac:spMkLst>
        </pc:spChg>
        <pc:picChg chg="del">
          <ac:chgData name="Vetrano, Nicole" userId="S::nvetrano@bwh.harvard.edu::251ed28a-7cb2-4cc8-a8b7-59519a3d4894" providerId="AD" clId="Web-{1BDAA78C-BEF2-7249-6E41-ED8C762C1445}" dt="2022-11-04T14:45:02.187" v="106"/>
          <ac:picMkLst>
            <pc:docMk/>
            <pc:sldMk cId="3467862585" sldId="3540"/>
            <ac:picMk id="2" creationId="{0DB42742-861F-8C0E-9925-003F5402E2BB}"/>
          </ac:picMkLst>
        </pc:picChg>
        <pc:picChg chg="add mod">
          <ac:chgData name="Vetrano, Nicole" userId="S::nvetrano@bwh.harvard.edu::251ed28a-7cb2-4cc8-a8b7-59519a3d4894" providerId="AD" clId="Web-{1BDAA78C-BEF2-7249-6E41-ED8C762C1445}" dt="2022-11-04T14:46:26.877" v="130" actId="14100"/>
          <ac:picMkLst>
            <pc:docMk/>
            <pc:sldMk cId="3467862585" sldId="3540"/>
            <ac:picMk id="3" creationId="{4FA64303-A336-0B89-04BB-91E56925CBDF}"/>
          </ac:picMkLst>
        </pc:picChg>
      </pc:sldChg>
    </pc:docChg>
  </pc:docChgLst>
  <pc:docChgLst>
    <pc:chgData name="Qureshi, Taj F." userId="e19f8f9a-4b04-4f30-b58a-5b568dd505d5" providerId="ADAL" clId="{542317C5-9B62-4B67-A62B-348D1AA4959F}"/>
    <pc:docChg chg="custSel modSld">
      <pc:chgData name="Qureshi, Taj F." userId="e19f8f9a-4b04-4f30-b58a-5b568dd505d5" providerId="ADAL" clId="{542317C5-9B62-4B67-A62B-348D1AA4959F}" dt="2022-12-13T14:41:15.602" v="2" actId="478"/>
      <pc:docMkLst>
        <pc:docMk/>
      </pc:docMkLst>
      <pc:sldChg chg="delSp modSp mod">
        <pc:chgData name="Qureshi, Taj F." userId="e19f8f9a-4b04-4f30-b58a-5b568dd505d5" providerId="ADAL" clId="{542317C5-9B62-4B67-A62B-348D1AA4959F}" dt="2022-12-13T14:41:15.602" v="2" actId="478"/>
        <pc:sldMkLst>
          <pc:docMk/>
          <pc:sldMk cId="2157829121" sldId="3500"/>
        </pc:sldMkLst>
        <pc:spChg chg="mod">
          <ac:chgData name="Qureshi, Taj F." userId="e19f8f9a-4b04-4f30-b58a-5b568dd505d5" providerId="ADAL" clId="{542317C5-9B62-4B67-A62B-348D1AA4959F}" dt="2022-12-13T14:41:13.629" v="1" actId="207"/>
          <ac:spMkLst>
            <pc:docMk/>
            <pc:sldMk cId="2157829121" sldId="3500"/>
            <ac:spMk id="3" creationId="{DC1FB5CC-EE33-4D67-A5D0-01136FFFBE11}"/>
          </ac:spMkLst>
        </pc:spChg>
        <pc:spChg chg="del mod">
          <ac:chgData name="Qureshi, Taj F." userId="e19f8f9a-4b04-4f30-b58a-5b568dd505d5" providerId="ADAL" clId="{542317C5-9B62-4B67-A62B-348D1AA4959F}" dt="2022-12-13T14:41:15.602" v="2" actId="478"/>
          <ac:spMkLst>
            <pc:docMk/>
            <pc:sldMk cId="2157829121" sldId="3500"/>
            <ac:spMk id="4" creationId="{5991A4CB-6524-44B0-B4F9-C612BCF04D71}"/>
          </ac:spMkLst>
        </pc:spChg>
      </pc:sldChg>
    </pc:docChg>
  </pc:docChgLst>
  <pc:docChgLst>
    <pc:chgData name="Taj Qureshi" userId="e19f8f9a-4b04-4f30-b58a-5b568dd505d5" providerId="ADAL" clId="{E97284B3-C358-42EB-A999-AE79B242F1EC}"/>
    <pc:docChg chg="delSld modSld">
      <pc:chgData name="Taj Qureshi" userId="e19f8f9a-4b04-4f30-b58a-5b568dd505d5" providerId="ADAL" clId="{E97284B3-C358-42EB-A999-AE79B242F1EC}" dt="2023-01-23T14:47:57.249" v="78" actId="207"/>
      <pc:docMkLst>
        <pc:docMk/>
      </pc:docMkLst>
      <pc:sldChg chg="modSp mod">
        <pc:chgData name="Taj Qureshi" userId="e19f8f9a-4b04-4f30-b58a-5b568dd505d5" providerId="ADAL" clId="{E97284B3-C358-42EB-A999-AE79B242F1EC}" dt="2023-01-23T14:46:18.731" v="15" actId="20577"/>
        <pc:sldMkLst>
          <pc:docMk/>
          <pc:sldMk cId="2201927228" sldId="281"/>
        </pc:sldMkLst>
        <pc:spChg chg="mod">
          <ac:chgData name="Taj Qureshi" userId="e19f8f9a-4b04-4f30-b58a-5b568dd505d5" providerId="ADAL" clId="{E97284B3-C358-42EB-A999-AE79B242F1EC}" dt="2023-01-23T14:46:18.731" v="15" actId="20577"/>
          <ac:spMkLst>
            <pc:docMk/>
            <pc:sldMk cId="2201927228" sldId="281"/>
            <ac:spMk id="7" creationId="{7CC54396-97AB-409E-B850-2AE2619B0508}"/>
          </ac:spMkLst>
        </pc:spChg>
      </pc:sldChg>
      <pc:sldChg chg="modSp mod">
        <pc:chgData name="Taj Qureshi" userId="e19f8f9a-4b04-4f30-b58a-5b568dd505d5" providerId="ADAL" clId="{E97284B3-C358-42EB-A999-AE79B242F1EC}" dt="2023-01-23T14:47:24.863" v="52" actId="2165"/>
        <pc:sldMkLst>
          <pc:docMk/>
          <pc:sldMk cId="1635790025" sldId="3340"/>
        </pc:sldMkLst>
        <pc:graphicFrameChg chg="modGraphic">
          <ac:chgData name="Taj Qureshi" userId="e19f8f9a-4b04-4f30-b58a-5b568dd505d5" providerId="ADAL" clId="{E97284B3-C358-42EB-A999-AE79B242F1EC}" dt="2023-01-23T14:47:24.863" v="52" actId="2165"/>
          <ac:graphicFrameMkLst>
            <pc:docMk/>
            <pc:sldMk cId="1635790025" sldId="3340"/>
            <ac:graphicFrameMk id="4" creationId="{9206FA14-07A6-4D4F-8AD6-A1AE43D08CD3}"/>
          </ac:graphicFrameMkLst>
        </pc:graphicFrameChg>
      </pc:sldChg>
      <pc:sldChg chg="addSp modSp">
        <pc:chgData name="Taj Qureshi" userId="e19f8f9a-4b04-4f30-b58a-5b568dd505d5" providerId="ADAL" clId="{E97284B3-C358-42EB-A999-AE79B242F1EC}" dt="2023-01-23T14:46:45.054" v="44"/>
        <pc:sldMkLst>
          <pc:docMk/>
          <pc:sldMk cId="2663093350" sldId="3369"/>
        </pc:sldMkLst>
        <pc:spChg chg="add mod">
          <ac:chgData name="Taj Qureshi" userId="e19f8f9a-4b04-4f30-b58a-5b568dd505d5" providerId="ADAL" clId="{E97284B3-C358-42EB-A999-AE79B242F1EC}" dt="2023-01-23T14:46:45.054" v="44"/>
          <ac:spMkLst>
            <pc:docMk/>
            <pc:sldMk cId="2663093350" sldId="3369"/>
            <ac:spMk id="6" creationId="{1815D071-5420-4ECC-9FB4-45882A9E35EB}"/>
          </ac:spMkLst>
        </pc:spChg>
      </pc:sldChg>
      <pc:sldChg chg="addSp modSp mod">
        <pc:chgData name="Taj Qureshi" userId="e19f8f9a-4b04-4f30-b58a-5b568dd505d5" providerId="ADAL" clId="{E97284B3-C358-42EB-A999-AE79B242F1EC}" dt="2023-01-23T14:46:41.389" v="42" actId="1076"/>
        <pc:sldMkLst>
          <pc:docMk/>
          <pc:sldMk cId="427793889" sldId="3388"/>
        </pc:sldMkLst>
        <pc:spChg chg="add mod">
          <ac:chgData name="Taj Qureshi" userId="e19f8f9a-4b04-4f30-b58a-5b568dd505d5" providerId="ADAL" clId="{E97284B3-C358-42EB-A999-AE79B242F1EC}" dt="2023-01-23T14:46:41.389" v="42" actId="1076"/>
          <ac:spMkLst>
            <pc:docMk/>
            <pc:sldMk cId="427793889" sldId="3388"/>
            <ac:spMk id="2" creationId="{02C6AE1A-E096-41A1-B3B8-C2DB80FCD5EA}"/>
          </ac:spMkLst>
        </pc:spChg>
      </pc:sldChg>
      <pc:sldChg chg="addSp modSp">
        <pc:chgData name="Taj Qureshi" userId="e19f8f9a-4b04-4f30-b58a-5b568dd505d5" providerId="ADAL" clId="{E97284B3-C358-42EB-A999-AE79B242F1EC}" dt="2023-01-23T14:46:46.427" v="45"/>
        <pc:sldMkLst>
          <pc:docMk/>
          <pc:sldMk cId="240661228" sldId="3423"/>
        </pc:sldMkLst>
        <pc:spChg chg="add mod">
          <ac:chgData name="Taj Qureshi" userId="e19f8f9a-4b04-4f30-b58a-5b568dd505d5" providerId="ADAL" clId="{E97284B3-C358-42EB-A999-AE79B242F1EC}" dt="2023-01-23T14:46:46.427" v="45"/>
          <ac:spMkLst>
            <pc:docMk/>
            <pc:sldMk cId="240661228" sldId="3423"/>
            <ac:spMk id="6" creationId="{19293A17-A386-4B25-9784-0717DE4E3FEB}"/>
          </ac:spMkLst>
        </pc:spChg>
      </pc:sldChg>
      <pc:sldChg chg="addSp modSp mod">
        <pc:chgData name="Taj Qureshi" userId="e19f8f9a-4b04-4f30-b58a-5b568dd505d5" providerId="ADAL" clId="{E97284B3-C358-42EB-A999-AE79B242F1EC}" dt="2023-01-23T14:47:57.249" v="78" actId="207"/>
        <pc:sldMkLst>
          <pc:docMk/>
          <pc:sldMk cId="2157829121" sldId="3500"/>
        </pc:sldMkLst>
        <pc:spChg chg="mod">
          <ac:chgData name="Taj Qureshi" userId="e19f8f9a-4b04-4f30-b58a-5b568dd505d5" providerId="ADAL" clId="{E97284B3-C358-42EB-A999-AE79B242F1EC}" dt="2023-01-23T14:47:57.249" v="78" actId="207"/>
          <ac:spMkLst>
            <pc:docMk/>
            <pc:sldMk cId="2157829121" sldId="3500"/>
            <ac:spMk id="3" creationId="{DC1FB5CC-EE33-4D67-A5D0-01136FFFBE11}"/>
          </ac:spMkLst>
        </pc:spChg>
        <pc:spChg chg="add mod">
          <ac:chgData name="Taj Qureshi" userId="e19f8f9a-4b04-4f30-b58a-5b568dd505d5" providerId="ADAL" clId="{E97284B3-C358-42EB-A999-AE79B242F1EC}" dt="2023-01-23T14:46:49.169" v="47"/>
          <ac:spMkLst>
            <pc:docMk/>
            <pc:sldMk cId="2157829121" sldId="3500"/>
            <ac:spMk id="4" creationId="{F4DF30F5-46E1-4AB5-8103-AFA649738008}"/>
          </ac:spMkLst>
        </pc:spChg>
      </pc:sldChg>
      <pc:sldChg chg="addSp modSp">
        <pc:chgData name="Taj Qureshi" userId="e19f8f9a-4b04-4f30-b58a-5b568dd505d5" providerId="ADAL" clId="{E97284B3-C358-42EB-A999-AE79B242F1EC}" dt="2023-01-23T14:46:47.691" v="46"/>
        <pc:sldMkLst>
          <pc:docMk/>
          <pc:sldMk cId="3640228099" sldId="3536"/>
        </pc:sldMkLst>
        <pc:spChg chg="add mod">
          <ac:chgData name="Taj Qureshi" userId="e19f8f9a-4b04-4f30-b58a-5b568dd505d5" providerId="ADAL" clId="{E97284B3-C358-42EB-A999-AE79B242F1EC}" dt="2023-01-23T14:46:47.691" v="46"/>
          <ac:spMkLst>
            <pc:docMk/>
            <pc:sldMk cId="3640228099" sldId="3536"/>
            <ac:spMk id="10" creationId="{B0942A72-D242-4E3F-9107-9C5810C9EA7D}"/>
          </ac:spMkLst>
        </pc:spChg>
      </pc:sldChg>
      <pc:sldChg chg="addSp modSp">
        <pc:chgData name="Taj Qureshi" userId="e19f8f9a-4b04-4f30-b58a-5b568dd505d5" providerId="ADAL" clId="{E97284B3-C358-42EB-A999-AE79B242F1EC}" dt="2023-01-23T14:46:52.721" v="49"/>
        <pc:sldMkLst>
          <pc:docMk/>
          <pc:sldMk cId="3537679081" sldId="3537"/>
        </pc:sldMkLst>
        <pc:spChg chg="add mod">
          <ac:chgData name="Taj Qureshi" userId="e19f8f9a-4b04-4f30-b58a-5b568dd505d5" providerId="ADAL" clId="{E97284B3-C358-42EB-A999-AE79B242F1EC}" dt="2023-01-23T14:46:52.721" v="49"/>
          <ac:spMkLst>
            <pc:docMk/>
            <pc:sldMk cId="3537679081" sldId="3537"/>
            <ac:spMk id="6" creationId="{5DC8CB5B-BD83-48B8-856A-9642ADAE0AF5}"/>
          </ac:spMkLst>
        </pc:spChg>
      </pc:sldChg>
      <pc:sldChg chg="addSp modSp">
        <pc:chgData name="Taj Qureshi" userId="e19f8f9a-4b04-4f30-b58a-5b568dd505d5" providerId="ADAL" clId="{E97284B3-C358-42EB-A999-AE79B242F1EC}" dt="2023-01-23T14:46:43.352" v="43"/>
        <pc:sldMkLst>
          <pc:docMk/>
          <pc:sldMk cId="2053167649" sldId="3539"/>
        </pc:sldMkLst>
        <pc:spChg chg="add mod">
          <ac:chgData name="Taj Qureshi" userId="e19f8f9a-4b04-4f30-b58a-5b568dd505d5" providerId="ADAL" clId="{E97284B3-C358-42EB-A999-AE79B242F1EC}" dt="2023-01-23T14:46:43.352" v="43"/>
          <ac:spMkLst>
            <pc:docMk/>
            <pc:sldMk cId="2053167649" sldId="3539"/>
            <ac:spMk id="6" creationId="{D7267970-6CB1-4A23-ACCA-8FAF62A61CA6}"/>
          </ac:spMkLst>
        </pc:spChg>
      </pc:sldChg>
      <pc:sldChg chg="addSp modSp">
        <pc:chgData name="Taj Qureshi" userId="e19f8f9a-4b04-4f30-b58a-5b568dd505d5" providerId="ADAL" clId="{E97284B3-C358-42EB-A999-AE79B242F1EC}" dt="2023-01-23T14:46:54.521" v="50"/>
        <pc:sldMkLst>
          <pc:docMk/>
          <pc:sldMk cId="3467862585" sldId="3540"/>
        </pc:sldMkLst>
        <pc:spChg chg="add mod">
          <ac:chgData name="Taj Qureshi" userId="e19f8f9a-4b04-4f30-b58a-5b568dd505d5" providerId="ADAL" clId="{E97284B3-C358-42EB-A999-AE79B242F1EC}" dt="2023-01-23T14:46:54.521" v="50"/>
          <ac:spMkLst>
            <pc:docMk/>
            <pc:sldMk cId="3467862585" sldId="3540"/>
            <ac:spMk id="10" creationId="{89FEFBF8-FB61-4F8A-814C-0FD99640E030}"/>
          </ac:spMkLst>
        </pc:spChg>
      </pc:sldChg>
      <pc:sldChg chg="addSp modSp del">
        <pc:chgData name="Taj Qureshi" userId="e19f8f9a-4b04-4f30-b58a-5b568dd505d5" providerId="ADAL" clId="{E97284B3-C358-42EB-A999-AE79B242F1EC}" dt="2023-01-23T14:47:03.730" v="51" actId="47"/>
        <pc:sldMkLst>
          <pc:docMk/>
          <pc:sldMk cId="1164912762" sldId="3541"/>
        </pc:sldMkLst>
        <pc:spChg chg="add mod">
          <ac:chgData name="Taj Qureshi" userId="e19f8f9a-4b04-4f30-b58a-5b568dd505d5" providerId="ADAL" clId="{E97284B3-C358-42EB-A999-AE79B242F1EC}" dt="2023-01-23T14:46:51.078" v="48"/>
          <ac:spMkLst>
            <pc:docMk/>
            <pc:sldMk cId="1164912762" sldId="3541"/>
            <ac:spMk id="6" creationId="{EB451DA0-6E64-49FA-9E4C-A40450C7EC92}"/>
          </ac:spMkLst>
        </pc:spChg>
      </pc:sldChg>
    </pc:docChg>
  </pc:docChgLst>
  <pc:docChgLst>
    <pc:chgData name="Qureshi, Taj F." userId="e19f8f9a-4b04-4f30-b58a-5b568dd505d5" providerId="ADAL" clId="{E97284B3-C358-42EB-A999-AE79B242F1EC}"/>
    <pc:docChg chg="undo custSel modSld sldOrd">
      <pc:chgData name="Qureshi, Taj F." userId="e19f8f9a-4b04-4f30-b58a-5b568dd505d5" providerId="ADAL" clId="{E97284B3-C358-42EB-A999-AE79B242F1EC}" dt="2023-02-10T15:05:41.911" v="180" actId="20577"/>
      <pc:docMkLst>
        <pc:docMk/>
      </pc:docMkLst>
      <pc:sldChg chg="modSp mod">
        <pc:chgData name="Qureshi, Taj F." userId="e19f8f9a-4b04-4f30-b58a-5b568dd505d5" providerId="ADAL" clId="{E97284B3-C358-42EB-A999-AE79B242F1EC}" dt="2023-02-03T13:28:10.841" v="67" actId="20577"/>
        <pc:sldMkLst>
          <pc:docMk/>
          <pc:sldMk cId="2201927228" sldId="281"/>
        </pc:sldMkLst>
        <pc:spChg chg="mod">
          <ac:chgData name="Qureshi, Taj F." userId="e19f8f9a-4b04-4f30-b58a-5b568dd505d5" providerId="ADAL" clId="{E97284B3-C358-42EB-A999-AE79B242F1EC}" dt="2023-02-03T13:28:10.841" v="67" actId="20577"/>
          <ac:spMkLst>
            <pc:docMk/>
            <pc:sldMk cId="2201927228" sldId="281"/>
            <ac:spMk id="9" creationId="{6784A2DF-72A0-47E3-9DE8-E1ACC495F865}"/>
          </ac:spMkLst>
        </pc:spChg>
      </pc:sldChg>
      <pc:sldChg chg="addSp modSp mod ord addCm">
        <pc:chgData name="Qureshi, Taj F." userId="e19f8f9a-4b04-4f30-b58a-5b568dd505d5" providerId="ADAL" clId="{E97284B3-C358-42EB-A999-AE79B242F1EC}" dt="2023-02-08T17:31:37.588" v="96"/>
        <pc:sldMkLst>
          <pc:docMk/>
          <pc:sldMk cId="2663093350" sldId="3369"/>
        </pc:sldMkLst>
        <pc:spChg chg="add mod">
          <ac:chgData name="Qureshi, Taj F." userId="e19f8f9a-4b04-4f30-b58a-5b568dd505d5" providerId="ADAL" clId="{E97284B3-C358-42EB-A999-AE79B242F1EC}" dt="2023-02-03T14:28:21.658" v="89" actId="14100"/>
          <ac:spMkLst>
            <pc:docMk/>
            <pc:sldMk cId="2663093350" sldId="3369"/>
            <ac:spMk id="4" creationId="{3CFF6368-DC90-4FBD-9F18-35E51579F3F2}"/>
          </ac:spMkLst>
        </pc:spChg>
        <pc:picChg chg="mod modCrop">
          <ac:chgData name="Qureshi, Taj F." userId="e19f8f9a-4b04-4f30-b58a-5b568dd505d5" providerId="ADAL" clId="{E97284B3-C358-42EB-A999-AE79B242F1EC}" dt="2023-02-02T20:54:34.581" v="19" actId="1076"/>
          <ac:picMkLst>
            <pc:docMk/>
            <pc:sldMk cId="2663093350" sldId="3369"/>
            <ac:picMk id="7" creationId="{5D7C4DE8-88C9-60AE-C531-52982F0E29A5}"/>
          </ac:picMkLst>
        </pc:picChg>
        <pc:picChg chg="mod">
          <ac:chgData name="Qureshi, Taj F." userId="e19f8f9a-4b04-4f30-b58a-5b568dd505d5" providerId="ADAL" clId="{E97284B3-C358-42EB-A999-AE79B242F1EC}" dt="2023-02-02T20:54:13.637" v="15" actId="1076"/>
          <ac:picMkLst>
            <pc:docMk/>
            <pc:sldMk cId="2663093350" sldId="3369"/>
            <ac:picMk id="8" creationId="{B8558EB9-8238-2992-3EBF-E7800334208C}"/>
          </ac:picMkLst>
        </pc:picChg>
        <pc:picChg chg="mod">
          <ac:chgData name="Qureshi, Taj F." userId="e19f8f9a-4b04-4f30-b58a-5b568dd505d5" providerId="ADAL" clId="{E97284B3-C358-42EB-A999-AE79B242F1EC}" dt="2023-02-02T20:54:50.628" v="22" actId="1076"/>
          <ac:picMkLst>
            <pc:docMk/>
            <pc:sldMk cId="2663093350" sldId="3369"/>
            <ac:picMk id="9" creationId="{D7977D15-6ADD-391C-A750-0ACAF67B139E}"/>
          </ac:picMkLst>
        </pc:picChg>
        <pc:picChg chg="mod">
          <ac:chgData name="Qureshi, Taj F." userId="e19f8f9a-4b04-4f30-b58a-5b568dd505d5" providerId="ADAL" clId="{E97284B3-C358-42EB-A999-AE79B242F1EC}" dt="2023-02-02T20:54:23.184" v="17" actId="1076"/>
          <ac:picMkLst>
            <pc:docMk/>
            <pc:sldMk cId="2663093350" sldId="3369"/>
            <ac:picMk id="10" creationId="{12BCBC07-2892-4A55-989E-54731CE76E4B}"/>
          </ac:picMkLst>
        </pc:picChg>
      </pc:sldChg>
      <pc:sldChg chg="modSp mod addCm modCm modNotesTx">
        <pc:chgData name="Qureshi, Taj F." userId="e19f8f9a-4b04-4f30-b58a-5b568dd505d5" providerId="ADAL" clId="{E97284B3-C358-42EB-A999-AE79B242F1EC}" dt="2023-02-10T15:05:41.911" v="180" actId="20577"/>
        <pc:sldMkLst>
          <pc:docMk/>
          <pc:sldMk cId="427793889" sldId="3388"/>
        </pc:sldMkLst>
        <pc:spChg chg="mod">
          <ac:chgData name="Qureshi, Taj F." userId="e19f8f9a-4b04-4f30-b58a-5b568dd505d5" providerId="ADAL" clId="{E97284B3-C358-42EB-A999-AE79B242F1EC}" dt="2023-02-10T15:05:41.911" v="180" actId="20577"/>
          <ac:spMkLst>
            <pc:docMk/>
            <pc:sldMk cId="427793889" sldId="3388"/>
            <ac:spMk id="2" creationId="{5F58563F-1DA8-F1AD-9E58-4304B7CBC3AB}"/>
          </ac:spMkLst>
        </pc:spChg>
        <pc:picChg chg="mod">
          <ac:chgData name="Qureshi, Taj F." userId="e19f8f9a-4b04-4f30-b58a-5b568dd505d5" providerId="ADAL" clId="{E97284B3-C358-42EB-A999-AE79B242F1EC}" dt="2023-02-08T17:48:44.487" v="170" actId="1076"/>
          <ac:picMkLst>
            <pc:docMk/>
            <pc:sldMk cId="427793889" sldId="3388"/>
            <ac:picMk id="5" creationId="{8031F3B2-5420-25CD-F9E2-051E8E3A967D}"/>
          </ac:picMkLst>
        </pc:picChg>
      </pc:sldChg>
      <pc:sldChg chg="modSp mod addCm">
        <pc:chgData name="Qureshi, Taj F." userId="e19f8f9a-4b04-4f30-b58a-5b568dd505d5" providerId="ADAL" clId="{E97284B3-C358-42EB-A999-AE79B242F1EC}" dt="2023-02-03T14:25:43.183" v="80"/>
        <pc:sldMkLst>
          <pc:docMk/>
          <pc:sldMk cId="240661228" sldId="3423"/>
        </pc:sldMkLst>
        <pc:picChg chg="mod">
          <ac:chgData name="Qureshi, Taj F." userId="e19f8f9a-4b04-4f30-b58a-5b568dd505d5" providerId="ADAL" clId="{E97284B3-C358-42EB-A999-AE79B242F1EC}" dt="2023-02-02T20:55:07.982" v="26" actId="1076"/>
          <ac:picMkLst>
            <pc:docMk/>
            <pc:sldMk cId="240661228" sldId="3423"/>
            <ac:picMk id="3" creationId="{9176AFC6-9CE6-73A8-5612-CF3203E2E600}"/>
          </ac:picMkLst>
        </pc:picChg>
        <pc:picChg chg="mod">
          <ac:chgData name="Qureshi, Taj F." userId="e19f8f9a-4b04-4f30-b58a-5b568dd505d5" providerId="ADAL" clId="{E97284B3-C358-42EB-A999-AE79B242F1EC}" dt="2023-02-02T20:55:14.139" v="27" actId="1076"/>
          <ac:picMkLst>
            <pc:docMk/>
            <pc:sldMk cId="240661228" sldId="3423"/>
            <ac:picMk id="5" creationId="{B7BCDDBF-E2EA-C96C-6454-0FDE84C0D3AE}"/>
          </ac:picMkLst>
        </pc:picChg>
      </pc:sldChg>
      <pc:sldChg chg="modSp mod">
        <pc:chgData name="Qureshi, Taj F." userId="e19f8f9a-4b04-4f30-b58a-5b568dd505d5" providerId="ADAL" clId="{E97284B3-C358-42EB-A999-AE79B242F1EC}" dt="2023-02-03T13:28:28.759" v="72" actId="20577"/>
        <pc:sldMkLst>
          <pc:docMk/>
          <pc:sldMk cId="2157829121" sldId="3500"/>
        </pc:sldMkLst>
        <pc:spChg chg="mod">
          <ac:chgData name="Qureshi, Taj F." userId="e19f8f9a-4b04-4f30-b58a-5b568dd505d5" providerId="ADAL" clId="{E97284B3-C358-42EB-A999-AE79B242F1EC}" dt="2023-02-03T13:28:28.759" v="72" actId="20577"/>
          <ac:spMkLst>
            <pc:docMk/>
            <pc:sldMk cId="2157829121" sldId="3500"/>
            <ac:spMk id="3" creationId="{DC1FB5CC-EE33-4D67-A5D0-01136FFFBE11}"/>
          </ac:spMkLst>
        </pc:spChg>
      </pc:sldChg>
      <pc:sldChg chg="addSp modSp mod addCm">
        <pc:chgData name="Qureshi, Taj F." userId="e19f8f9a-4b04-4f30-b58a-5b568dd505d5" providerId="ADAL" clId="{E97284B3-C358-42EB-A999-AE79B242F1EC}" dt="2023-02-03T14:28:37.538" v="92" actId="1036"/>
        <pc:sldMkLst>
          <pc:docMk/>
          <pc:sldMk cId="3640228099" sldId="3536"/>
        </pc:sldMkLst>
        <pc:spChg chg="add mod">
          <ac:chgData name="Qureshi, Taj F." userId="e19f8f9a-4b04-4f30-b58a-5b568dd505d5" providerId="ADAL" clId="{E97284B3-C358-42EB-A999-AE79B242F1EC}" dt="2023-02-03T14:28:37.538" v="92" actId="1036"/>
          <ac:spMkLst>
            <pc:docMk/>
            <pc:sldMk cId="3640228099" sldId="3536"/>
            <ac:spMk id="7" creationId="{3BD2C04D-EDBE-4CF5-9E14-EF041F00A3CA}"/>
          </ac:spMkLst>
        </pc:spChg>
        <pc:picChg chg="mod">
          <ac:chgData name="Qureshi, Taj F." userId="e19f8f9a-4b04-4f30-b58a-5b568dd505d5" providerId="ADAL" clId="{E97284B3-C358-42EB-A999-AE79B242F1EC}" dt="2023-02-02T20:56:05.747" v="38" actId="14100"/>
          <ac:picMkLst>
            <pc:docMk/>
            <pc:sldMk cId="3640228099" sldId="3536"/>
            <ac:picMk id="3" creationId="{59FBEB26-3974-0BF8-F4F6-DB63B11090B0}"/>
          </ac:picMkLst>
        </pc:picChg>
        <pc:picChg chg="mod">
          <ac:chgData name="Qureshi, Taj F." userId="e19f8f9a-4b04-4f30-b58a-5b568dd505d5" providerId="ADAL" clId="{E97284B3-C358-42EB-A999-AE79B242F1EC}" dt="2023-02-02T20:56:10.061" v="39" actId="1076"/>
          <ac:picMkLst>
            <pc:docMk/>
            <pc:sldMk cId="3640228099" sldId="3536"/>
            <ac:picMk id="4" creationId="{76DC0DEC-2A79-000C-DB69-3EE007F6BC26}"/>
          </ac:picMkLst>
        </pc:picChg>
        <pc:picChg chg="add mod">
          <ac:chgData name="Qureshi, Taj F." userId="e19f8f9a-4b04-4f30-b58a-5b568dd505d5" providerId="ADAL" clId="{E97284B3-C358-42EB-A999-AE79B242F1EC}" dt="2023-02-02T20:56:33.129" v="42" actId="1036"/>
          <ac:picMkLst>
            <pc:docMk/>
            <pc:sldMk cId="3640228099" sldId="3536"/>
            <ac:picMk id="5" creationId="{EBB966DD-2E5B-412C-91E1-3B060AFA95DC}"/>
          </ac:picMkLst>
        </pc:picChg>
      </pc:sldChg>
      <pc:sldChg chg="modSp mod addCm modCm modNotesTx">
        <pc:chgData name="Qureshi, Taj F." userId="e19f8f9a-4b04-4f30-b58a-5b568dd505d5" providerId="ADAL" clId="{E97284B3-C358-42EB-A999-AE79B242F1EC}" dt="2023-02-08T17:37:00.406" v="146" actId="20577"/>
        <pc:sldMkLst>
          <pc:docMk/>
          <pc:sldMk cId="3537679081" sldId="3537"/>
        </pc:sldMkLst>
        <pc:picChg chg="mod">
          <ac:chgData name="Qureshi, Taj F." userId="e19f8f9a-4b04-4f30-b58a-5b568dd505d5" providerId="ADAL" clId="{E97284B3-C358-42EB-A999-AE79B242F1EC}" dt="2023-02-02T20:57:24.318" v="51" actId="14100"/>
          <ac:picMkLst>
            <pc:docMk/>
            <pc:sldMk cId="3537679081" sldId="3537"/>
            <ac:picMk id="2" creationId="{CEEE73C7-19EB-E764-CF55-3558BDF36039}"/>
          </ac:picMkLst>
        </pc:picChg>
        <pc:picChg chg="mod">
          <ac:chgData name="Qureshi, Taj F." userId="e19f8f9a-4b04-4f30-b58a-5b568dd505d5" providerId="ADAL" clId="{E97284B3-C358-42EB-A999-AE79B242F1EC}" dt="2023-02-02T20:57:21.550" v="50" actId="14100"/>
          <ac:picMkLst>
            <pc:docMk/>
            <pc:sldMk cId="3537679081" sldId="3537"/>
            <ac:picMk id="4" creationId="{6B102E23-0B77-410C-BB7C-2D4E7889B3C9}"/>
          </ac:picMkLst>
        </pc:picChg>
      </pc:sldChg>
      <pc:sldChg chg="modSp mod addCm modNotesTx">
        <pc:chgData name="Qureshi, Taj F." userId="e19f8f9a-4b04-4f30-b58a-5b568dd505d5" providerId="ADAL" clId="{E97284B3-C358-42EB-A999-AE79B242F1EC}" dt="2023-02-03T14:25:16.037" v="78"/>
        <pc:sldMkLst>
          <pc:docMk/>
          <pc:sldMk cId="2053167649" sldId="3539"/>
        </pc:sldMkLst>
        <pc:picChg chg="mod modCrop">
          <ac:chgData name="Qureshi, Taj F." userId="e19f8f9a-4b04-4f30-b58a-5b568dd505d5" providerId="ADAL" clId="{E97284B3-C358-42EB-A999-AE79B242F1EC}" dt="2023-02-02T20:54:07.655" v="14" actId="1076"/>
          <ac:picMkLst>
            <pc:docMk/>
            <pc:sldMk cId="2053167649" sldId="3539"/>
            <ac:picMk id="3" creationId="{FC41BD7D-CBDF-EAC8-1A91-3194C3121582}"/>
          </ac:picMkLst>
        </pc:picChg>
        <pc:picChg chg="mod">
          <ac:chgData name="Qureshi, Taj F." userId="e19f8f9a-4b04-4f30-b58a-5b568dd505d5" providerId="ADAL" clId="{E97284B3-C358-42EB-A999-AE79B242F1EC}" dt="2023-02-02T20:54:07.655" v="14" actId="1076"/>
          <ac:picMkLst>
            <pc:docMk/>
            <pc:sldMk cId="2053167649" sldId="3539"/>
            <ac:picMk id="5" creationId="{98944371-2B86-3166-7841-CBFB88B13E12}"/>
          </ac:picMkLst>
        </pc:picChg>
        <pc:picChg chg="mod">
          <ac:chgData name="Qureshi, Taj F." userId="e19f8f9a-4b04-4f30-b58a-5b568dd505d5" providerId="ADAL" clId="{E97284B3-C358-42EB-A999-AE79B242F1EC}" dt="2023-02-02T20:53:37.772" v="11" actId="14100"/>
          <ac:picMkLst>
            <pc:docMk/>
            <pc:sldMk cId="2053167649" sldId="3539"/>
            <ac:picMk id="7" creationId="{0E619B7E-8494-2242-754F-B1F9E5A5CFD1}"/>
          </ac:picMkLst>
        </pc:picChg>
        <pc:picChg chg="mod">
          <ac:chgData name="Qureshi, Taj F." userId="e19f8f9a-4b04-4f30-b58a-5b568dd505d5" providerId="ADAL" clId="{E97284B3-C358-42EB-A999-AE79B242F1EC}" dt="2023-02-02T20:54:07.655" v="14" actId="1076"/>
          <ac:picMkLst>
            <pc:docMk/>
            <pc:sldMk cId="2053167649" sldId="3539"/>
            <ac:picMk id="8" creationId="{0D7E8EC7-C841-E95A-EC25-3606EAF8264F}"/>
          </ac:picMkLst>
        </pc:picChg>
      </pc:sldChg>
      <pc:sldChg chg="modSp mod addCm modCm modNotesTx">
        <pc:chgData name="Qureshi, Taj F." userId="e19f8f9a-4b04-4f30-b58a-5b568dd505d5" providerId="ADAL" clId="{E97284B3-C358-42EB-A999-AE79B242F1EC}" dt="2023-02-08T17:37:24.393" v="169" actId="20577"/>
        <pc:sldMkLst>
          <pc:docMk/>
          <pc:sldMk cId="3467862585" sldId="3540"/>
        </pc:sldMkLst>
        <pc:spChg chg="mod">
          <ac:chgData name="Qureshi, Taj F." userId="e19f8f9a-4b04-4f30-b58a-5b568dd505d5" providerId="ADAL" clId="{E97284B3-C358-42EB-A999-AE79B242F1EC}" dt="2023-02-08T17:34:29.190" v="97" actId="1076"/>
          <ac:spMkLst>
            <pc:docMk/>
            <pc:sldMk cId="3467862585" sldId="3540"/>
            <ac:spMk id="5" creationId="{4D194D00-D1E6-9962-1887-B5C3C9CCC1B3}"/>
          </ac:spMkLst>
        </pc:spChg>
        <pc:spChg chg="mod">
          <ac:chgData name="Qureshi, Taj F." userId="e19f8f9a-4b04-4f30-b58a-5b568dd505d5" providerId="ADAL" clId="{E97284B3-C358-42EB-A999-AE79B242F1EC}" dt="2023-02-02T20:57:50.067" v="58" actId="1076"/>
          <ac:spMkLst>
            <pc:docMk/>
            <pc:sldMk cId="3467862585" sldId="3540"/>
            <ac:spMk id="12" creationId="{E931ECAC-1903-9B4A-925F-095BA5528FD2}"/>
          </ac:spMkLst>
        </pc:spChg>
        <pc:spChg chg="mod">
          <ac:chgData name="Qureshi, Taj F." userId="e19f8f9a-4b04-4f30-b58a-5b568dd505d5" providerId="ADAL" clId="{E97284B3-C358-42EB-A999-AE79B242F1EC}" dt="2023-02-02T20:57:44.688" v="57" actId="1076"/>
          <ac:spMkLst>
            <pc:docMk/>
            <pc:sldMk cId="3467862585" sldId="3540"/>
            <ac:spMk id="13" creationId="{2775D1DB-8625-5301-8570-3B4F1AA57106}"/>
          </ac:spMkLst>
        </pc:spChg>
        <pc:picChg chg="mod ord">
          <ac:chgData name="Qureshi, Taj F." userId="e19f8f9a-4b04-4f30-b58a-5b568dd505d5" providerId="ADAL" clId="{E97284B3-C358-42EB-A999-AE79B242F1EC}" dt="2023-02-02T20:57:56.850" v="60" actId="166"/>
          <ac:picMkLst>
            <pc:docMk/>
            <pc:sldMk cId="3467862585" sldId="3540"/>
            <ac:picMk id="3" creationId="{80005DCD-44F6-90C0-BDFB-08EAE0F05F11}"/>
          </ac:picMkLst>
        </pc:picChg>
        <pc:picChg chg="mod">
          <ac:chgData name="Qureshi, Taj F." userId="e19f8f9a-4b04-4f30-b58a-5b568dd505d5" providerId="ADAL" clId="{E97284B3-C358-42EB-A999-AE79B242F1EC}" dt="2023-02-02T20:58:10.938" v="65" actId="14100"/>
          <ac:picMkLst>
            <pc:docMk/>
            <pc:sldMk cId="3467862585" sldId="3540"/>
            <ac:picMk id="4" creationId="{07AA0F58-618F-49DE-95CB-E87396DD74FC}"/>
          </ac:picMkLst>
        </pc:picChg>
      </pc:sldChg>
    </pc:docChg>
  </pc:docChgLst>
  <pc:docChgLst>
    <pc:chgData name="Vetrano, Nicole" userId="S::nvetrano@bwh.harvard.edu::251ed28a-7cb2-4cc8-a8b7-59519a3d4894" providerId="AD" clId="Web-{510D74ED-57E2-2348-2809-5D20E08CD99E}"/>
    <pc:docChg chg="modSld">
      <pc:chgData name="Vetrano, Nicole" userId="S::nvetrano@bwh.harvard.edu::251ed28a-7cb2-4cc8-a8b7-59519a3d4894" providerId="AD" clId="Web-{510D74ED-57E2-2348-2809-5D20E08CD99E}" dt="2022-11-04T16:21:41.030" v="15" actId="1076"/>
      <pc:docMkLst>
        <pc:docMk/>
      </pc:docMkLst>
      <pc:sldChg chg="addSp delSp modSp">
        <pc:chgData name="Vetrano, Nicole" userId="S::nvetrano@bwh.harvard.edu::251ed28a-7cb2-4cc8-a8b7-59519a3d4894" providerId="AD" clId="Web-{510D74ED-57E2-2348-2809-5D20E08CD99E}" dt="2022-11-04T16:21:41.030" v="15" actId="1076"/>
        <pc:sldMkLst>
          <pc:docMk/>
          <pc:sldMk cId="3640228099" sldId="3536"/>
        </pc:sldMkLst>
        <pc:picChg chg="del">
          <ac:chgData name="Vetrano, Nicole" userId="S::nvetrano@bwh.harvard.edu::251ed28a-7cb2-4cc8-a8b7-59519a3d4894" providerId="AD" clId="Web-{510D74ED-57E2-2348-2809-5D20E08CD99E}" dt="2022-11-04T16:18:34.930" v="0"/>
          <ac:picMkLst>
            <pc:docMk/>
            <pc:sldMk cId="3640228099" sldId="3536"/>
            <ac:picMk id="2" creationId="{A97A92FA-04AD-2AE9-A845-1823BA17B33F}"/>
          </ac:picMkLst>
        </pc:picChg>
        <pc:picChg chg="add mod">
          <ac:chgData name="Vetrano, Nicole" userId="S::nvetrano@bwh.harvard.edu::251ed28a-7cb2-4cc8-a8b7-59519a3d4894" providerId="AD" clId="Web-{510D74ED-57E2-2348-2809-5D20E08CD99E}" dt="2022-11-04T16:21:12.342" v="12" actId="1076"/>
          <ac:picMkLst>
            <pc:docMk/>
            <pc:sldMk cId="3640228099" sldId="3536"/>
            <ac:picMk id="3" creationId="{685BA4BD-0C4F-C399-4EAE-355C5B2C2605}"/>
          </ac:picMkLst>
        </pc:picChg>
        <pc:picChg chg="add mod">
          <ac:chgData name="Vetrano, Nicole" userId="S::nvetrano@bwh.harvard.edu::251ed28a-7cb2-4cc8-a8b7-59519a3d4894" providerId="AD" clId="Web-{510D74ED-57E2-2348-2809-5D20E08CD99E}" dt="2022-11-04T16:21:41.030" v="15" actId="1076"/>
          <ac:picMkLst>
            <pc:docMk/>
            <pc:sldMk cId="3640228099" sldId="3536"/>
            <ac:picMk id="4" creationId="{76DC0DEC-2A79-000C-DB69-3EE007F6BC26}"/>
          </ac:picMkLst>
        </pc:picChg>
        <pc:picChg chg="del">
          <ac:chgData name="Vetrano, Nicole" userId="S::nvetrano@bwh.harvard.edu::251ed28a-7cb2-4cc8-a8b7-59519a3d4894" providerId="AD" clId="Web-{510D74ED-57E2-2348-2809-5D20E08CD99E}" dt="2022-11-04T16:20:54.201" v="4"/>
          <ac:picMkLst>
            <pc:docMk/>
            <pc:sldMk cId="3640228099" sldId="3536"/>
            <ac:picMk id="14" creationId="{4FC8ACDD-0FCF-43BC-88FE-750FC7CFD093}"/>
          </ac:picMkLst>
        </pc:picChg>
      </pc:sldChg>
    </pc:docChg>
  </pc:docChgLst>
  <pc:docChgLst>
    <pc:chgData name="Vetrano, Nicole" userId="S::nvetrano@bwh.harvard.edu::251ed28a-7cb2-4cc8-a8b7-59519a3d4894" providerId="AD" clId="Web-{E14F5816-CA53-40A5-A89D-F8E95F981949}"/>
    <pc:docChg chg="modSld">
      <pc:chgData name="Vetrano, Nicole" userId="S::nvetrano@bwh.harvard.edu::251ed28a-7cb2-4cc8-a8b7-59519a3d4894" providerId="AD" clId="Web-{E14F5816-CA53-40A5-A89D-F8E95F981949}" dt="2023-02-03T18:04:53.846" v="21" actId="1076"/>
      <pc:docMkLst>
        <pc:docMk/>
      </pc:docMkLst>
      <pc:sldChg chg="addSp delSp modSp">
        <pc:chgData name="Vetrano, Nicole" userId="S::nvetrano@bwh.harvard.edu::251ed28a-7cb2-4cc8-a8b7-59519a3d4894" providerId="AD" clId="Web-{E14F5816-CA53-40A5-A89D-F8E95F981949}" dt="2023-02-03T18:03:25.527" v="8" actId="1076"/>
        <pc:sldMkLst>
          <pc:docMk/>
          <pc:sldMk cId="2663093350" sldId="3369"/>
        </pc:sldMkLst>
        <pc:spChg chg="del">
          <ac:chgData name="Vetrano, Nicole" userId="S::nvetrano@bwh.harvard.edu::251ed28a-7cb2-4cc8-a8b7-59519a3d4894" providerId="AD" clId="Web-{E14F5816-CA53-40A5-A89D-F8E95F981949}" dt="2023-02-03T18:03:00.854" v="1"/>
          <ac:spMkLst>
            <pc:docMk/>
            <pc:sldMk cId="2663093350" sldId="3369"/>
            <ac:spMk id="6" creationId="{C5E59100-365B-ACD0-A928-B3DDC6FD43CD}"/>
          </ac:spMkLst>
        </pc:spChg>
        <pc:picChg chg="del">
          <ac:chgData name="Vetrano, Nicole" userId="S::nvetrano@bwh.harvard.edu::251ed28a-7cb2-4cc8-a8b7-59519a3d4894" providerId="AD" clId="Web-{E14F5816-CA53-40A5-A89D-F8E95F981949}" dt="2023-02-03T18:03:01.948" v="2"/>
          <ac:picMkLst>
            <pc:docMk/>
            <pc:sldMk cId="2663093350" sldId="3369"/>
            <ac:picMk id="2" creationId="{A3D6019F-BA97-8D58-BDF3-DF18D8E9C039}"/>
          </ac:picMkLst>
        </pc:picChg>
        <pc:picChg chg="add mod">
          <ac:chgData name="Vetrano, Nicole" userId="S::nvetrano@bwh.harvard.edu::251ed28a-7cb2-4cc8-a8b7-59519a3d4894" providerId="AD" clId="Web-{E14F5816-CA53-40A5-A89D-F8E95F981949}" dt="2023-02-03T18:03:25.527" v="8" actId="1076"/>
          <ac:picMkLst>
            <pc:docMk/>
            <pc:sldMk cId="2663093350" sldId="3369"/>
            <ac:picMk id="3" creationId="{599CBA68-90BA-A68E-7B56-1C9A053C4A76}"/>
          </ac:picMkLst>
        </pc:picChg>
        <pc:picChg chg="mod">
          <ac:chgData name="Vetrano, Nicole" userId="S::nvetrano@bwh.harvard.edu::251ed28a-7cb2-4cc8-a8b7-59519a3d4894" providerId="AD" clId="Web-{E14F5816-CA53-40A5-A89D-F8E95F981949}" dt="2023-02-03T18:02:58.072" v="0" actId="14100"/>
          <ac:picMkLst>
            <pc:docMk/>
            <pc:sldMk cId="2663093350" sldId="3369"/>
            <ac:picMk id="9" creationId="{A7D11675-29DA-9723-3B43-8A62B1DE056D}"/>
          </ac:picMkLst>
        </pc:picChg>
      </pc:sldChg>
      <pc:sldChg chg="addSp delSp modSp">
        <pc:chgData name="Vetrano, Nicole" userId="S::nvetrano@bwh.harvard.edu::251ed28a-7cb2-4cc8-a8b7-59519a3d4894" providerId="AD" clId="Web-{E14F5816-CA53-40A5-A89D-F8E95F981949}" dt="2023-02-03T18:04:53.846" v="21" actId="1076"/>
        <pc:sldMkLst>
          <pc:docMk/>
          <pc:sldMk cId="2053167649" sldId="3539"/>
        </pc:sldMkLst>
        <pc:spChg chg="del">
          <ac:chgData name="Vetrano, Nicole" userId="S::nvetrano@bwh.harvard.edu::251ed28a-7cb2-4cc8-a8b7-59519a3d4894" providerId="AD" clId="Web-{E14F5816-CA53-40A5-A89D-F8E95F981949}" dt="2023-02-03T18:04:37.704" v="14"/>
          <ac:spMkLst>
            <pc:docMk/>
            <pc:sldMk cId="2053167649" sldId="3539"/>
            <ac:spMk id="3" creationId="{D4F5B5A4-A1AF-582C-C1C6-830C394E44A9}"/>
          </ac:spMkLst>
        </pc:spChg>
        <pc:spChg chg="del">
          <ac:chgData name="Vetrano, Nicole" userId="S::nvetrano@bwh.harvard.edu::251ed28a-7cb2-4cc8-a8b7-59519a3d4894" providerId="AD" clId="Web-{E14F5816-CA53-40A5-A89D-F8E95F981949}" dt="2023-02-03T18:03:32.793" v="10"/>
          <ac:spMkLst>
            <pc:docMk/>
            <pc:sldMk cId="2053167649" sldId="3539"/>
            <ac:spMk id="7" creationId="{EA560B82-95F8-FDF1-81C7-B38247CC422F}"/>
          </ac:spMkLst>
        </pc:spChg>
        <pc:picChg chg="del">
          <ac:chgData name="Vetrano, Nicole" userId="S::nvetrano@bwh.harvard.edu::251ed28a-7cb2-4cc8-a8b7-59519a3d4894" providerId="AD" clId="Web-{E14F5816-CA53-40A5-A89D-F8E95F981949}" dt="2023-02-03T18:04:38.423" v="15"/>
          <ac:picMkLst>
            <pc:docMk/>
            <pc:sldMk cId="2053167649" sldId="3539"/>
            <ac:picMk id="4" creationId="{AAB3B1F3-BD4D-8EAB-2286-AAB185DAC8AC}"/>
          </ac:picMkLst>
        </pc:picChg>
        <pc:picChg chg="del">
          <ac:chgData name="Vetrano, Nicole" userId="S::nvetrano@bwh.harvard.edu::251ed28a-7cb2-4cc8-a8b7-59519a3d4894" providerId="AD" clId="Web-{E14F5816-CA53-40A5-A89D-F8E95F981949}" dt="2023-02-03T18:03:31.075" v="9"/>
          <ac:picMkLst>
            <pc:docMk/>
            <pc:sldMk cId="2053167649" sldId="3539"/>
            <ac:picMk id="6" creationId="{D04B400A-9BA2-D331-3B72-4604F453622C}"/>
          </ac:picMkLst>
        </pc:picChg>
        <pc:picChg chg="add mod">
          <ac:chgData name="Vetrano, Nicole" userId="S::nvetrano@bwh.harvard.edu::251ed28a-7cb2-4cc8-a8b7-59519a3d4894" providerId="AD" clId="Web-{E14F5816-CA53-40A5-A89D-F8E95F981949}" dt="2023-02-03T18:04:17.781" v="13" actId="1076"/>
          <ac:picMkLst>
            <pc:docMk/>
            <pc:sldMk cId="2053167649" sldId="3539"/>
            <ac:picMk id="8" creationId="{DA251D82-35A5-1EDF-839E-6417D6B5CA2B}"/>
          </ac:picMkLst>
        </pc:picChg>
        <pc:picChg chg="add mod">
          <ac:chgData name="Vetrano, Nicole" userId="S::nvetrano@bwh.harvard.edu::251ed28a-7cb2-4cc8-a8b7-59519a3d4894" providerId="AD" clId="Web-{E14F5816-CA53-40A5-A89D-F8E95F981949}" dt="2023-02-03T18:04:53.846" v="21" actId="1076"/>
          <ac:picMkLst>
            <pc:docMk/>
            <pc:sldMk cId="2053167649" sldId="3539"/>
            <ac:picMk id="9" creationId="{72CC2B3A-CCD1-36B6-5F8B-71FA4C56DE7B}"/>
          </ac:picMkLst>
        </pc:picChg>
      </pc:sldChg>
    </pc:docChg>
  </pc:docChgLst>
  <pc:docChgLst>
    <pc:chgData name="Vetrano, Nicole" userId="S::nvetrano@bwh.harvard.edu::251ed28a-7cb2-4cc8-a8b7-59519a3d4894" providerId="AD" clId="Web-{A1C8B059-4D23-4AFA-B557-04454316D35F}"/>
    <pc:docChg chg="modSld">
      <pc:chgData name="Vetrano, Nicole" userId="S::nvetrano@bwh.harvard.edu::251ed28a-7cb2-4cc8-a8b7-59519a3d4894" providerId="AD" clId="Web-{A1C8B059-4D23-4AFA-B557-04454316D35F}" dt="2023-04-13T15:33:48.586" v="5" actId="1076"/>
      <pc:docMkLst>
        <pc:docMk/>
      </pc:docMkLst>
      <pc:sldChg chg="addSp delSp modSp">
        <pc:chgData name="Vetrano, Nicole" userId="S::nvetrano@bwh.harvard.edu::251ed28a-7cb2-4cc8-a8b7-59519a3d4894" providerId="AD" clId="Web-{A1C8B059-4D23-4AFA-B557-04454316D35F}" dt="2023-04-13T15:33:48.586" v="5" actId="1076"/>
        <pc:sldMkLst>
          <pc:docMk/>
          <pc:sldMk cId="3640228099" sldId="3536"/>
        </pc:sldMkLst>
        <pc:picChg chg="add mod">
          <ac:chgData name="Vetrano, Nicole" userId="S::nvetrano@bwh.harvard.edu::251ed28a-7cb2-4cc8-a8b7-59519a3d4894" providerId="AD" clId="Web-{A1C8B059-4D23-4AFA-B557-04454316D35F}" dt="2023-04-13T15:33:48.586" v="5" actId="1076"/>
          <ac:picMkLst>
            <pc:docMk/>
            <pc:sldMk cId="3640228099" sldId="3536"/>
            <ac:picMk id="2" creationId="{B0F374E9-B60B-6B03-C9C6-40F04323F9A3}"/>
          </ac:picMkLst>
        </pc:picChg>
        <pc:picChg chg="del">
          <ac:chgData name="Vetrano, Nicole" userId="S::nvetrano@bwh.harvard.edu::251ed28a-7cb2-4cc8-a8b7-59519a3d4894" providerId="AD" clId="Web-{A1C8B059-4D23-4AFA-B557-04454316D35F}" dt="2023-04-13T15:30:42.909" v="0"/>
          <ac:picMkLst>
            <pc:docMk/>
            <pc:sldMk cId="3640228099" sldId="3536"/>
            <ac:picMk id="5" creationId="{B1BE227F-563D-FD58-18F7-0DBA4F010EA0}"/>
          </ac:picMkLst>
        </pc:picChg>
      </pc:sldChg>
    </pc:docChg>
  </pc:docChgLst>
  <pc:docChgLst>
    <pc:chgData name="Vetrano, Nicole" userId="S::nvetrano@bwh.harvard.edu::251ed28a-7cb2-4cc8-a8b7-59519a3d4894" providerId="AD" clId="Web-{A551C7AE-A69E-494F-A860-AD53B08E1FC8}"/>
    <pc:docChg chg="modSld">
      <pc:chgData name="Vetrano, Nicole" userId="S::nvetrano@bwh.harvard.edu::251ed28a-7cb2-4cc8-a8b7-59519a3d4894" providerId="AD" clId="Web-{A551C7AE-A69E-494F-A860-AD53B08E1FC8}" dt="2023-05-06T03:18:36.284" v="100" actId="1076"/>
      <pc:docMkLst>
        <pc:docMk/>
      </pc:docMkLst>
      <pc:sldChg chg="addSp delSp modSp">
        <pc:chgData name="Vetrano, Nicole" userId="S::nvetrano@bwh.harvard.edu::251ed28a-7cb2-4cc8-a8b7-59519a3d4894" providerId="AD" clId="Web-{A551C7AE-A69E-494F-A860-AD53B08E1FC8}" dt="2023-05-06T02:51:24.034" v="26" actId="14100"/>
        <pc:sldMkLst>
          <pc:docMk/>
          <pc:sldMk cId="2663093350" sldId="3369"/>
        </pc:sldMkLst>
        <pc:spChg chg="del">
          <ac:chgData name="Vetrano, Nicole" userId="S::nvetrano@bwh.harvard.edu::251ed28a-7cb2-4cc8-a8b7-59519a3d4894" providerId="AD" clId="Web-{A551C7AE-A69E-494F-A860-AD53B08E1FC8}" dt="2023-05-06T02:34:57.676" v="9"/>
          <ac:spMkLst>
            <pc:docMk/>
            <pc:sldMk cId="2663093350" sldId="3369"/>
            <ac:spMk id="2" creationId="{7E3C7552-F0C9-1D52-2602-A711443DCC36}"/>
          </ac:spMkLst>
        </pc:spChg>
        <pc:picChg chg="add del mod">
          <ac:chgData name="Vetrano, Nicole" userId="S::nvetrano@bwh.harvard.edu::251ed28a-7cb2-4cc8-a8b7-59519a3d4894" providerId="AD" clId="Web-{A551C7AE-A69E-494F-A860-AD53B08E1FC8}" dt="2023-05-06T02:36:45.744" v="15"/>
          <ac:picMkLst>
            <pc:docMk/>
            <pc:sldMk cId="2663093350" sldId="3369"/>
            <ac:picMk id="3" creationId="{1A2EAD41-AC9E-C699-507A-80CF3359FF4D}"/>
          </ac:picMkLst>
        </pc:picChg>
        <pc:picChg chg="add mod">
          <ac:chgData name="Vetrano, Nicole" userId="S::nvetrano@bwh.harvard.edu::251ed28a-7cb2-4cc8-a8b7-59519a3d4894" providerId="AD" clId="Web-{A551C7AE-A69E-494F-A860-AD53B08E1FC8}" dt="2023-05-06T02:36:56.979" v="19" actId="1076"/>
          <ac:picMkLst>
            <pc:docMk/>
            <pc:sldMk cId="2663093350" sldId="3369"/>
            <ac:picMk id="5" creationId="{061CCCF5-FB97-B4FC-8E64-7EC88624911E}"/>
          </ac:picMkLst>
        </pc:picChg>
        <pc:picChg chg="add mod">
          <ac:chgData name="Vetrano, Nicole" userId="S::nvetrano@bwh.harvard.edu::251ed28a-7cb2-4cc8-a8b7-59519a3d4894" providerId="AD" clId="Web-{A551C7AE-A69E-494F-A860-AD53B08E1FC8}" dt="2023-05-06T02:51:24.034" v="26" actId="14100"/>
          <ac:picMkLst>
            <pc:docMk/>
            <pc:sldMk cId="2663093350" sldId="3369"/>
            <ac:picMk id="6" creationId="{B38429F6-FF5D-0C0F-1B11-D821F18D1260}"/>
          </ac:picMkLst>
        </pc:picChg>
        <pc:picChg chg="del">
          <ac:chgData name="Vetrano, Nicole" userId="S::nvetrano@bwh.harvard.edu::251ed28a-7cb2-4cc8-a8b7-59519a3d4894" providerId="AD" clId="Web-{A551C7AE-A69E-494F-A860-AD53B08E1FC8}" dt="2023-05-06T02:36:59.729" v="20"/>
          <ac:picMkLst>
            <pc:docMk/>
            <pc:sldMk cId="2663093350" sldId="3369"/>
            <ac:picMk id="7" creationId="{DDD32821-FF27-8EEC-037E-A260A14D2AE8}"/>
          </ac:picMkLst>
        </pc:picChg>
        <pc:picChg chg="del">
          <ac:chgData name="Vetrano, Nicole" userId="S::nvetrano@bwh.harvard.edu::251ed28a-7cb2-4cc8-a8b7-59519a3d4894" providerId="AD" clId="Web-{A551C7AE-A69E-494F-A860-AD53B08E1FC8}" dt="2023-05-06T02:35:57.774" v="10"/>
          <ac:picMkLst>
            <pc:docMk/>
            <pc:sldMk cId="2663093350" sldId="3369"/>
            <ac:picMk id="8" creationId="{0CA0B0CF-4EED-6079-4CB7-3C296450909E}"/>
          </ac:picMkLst>
        </pc:picChg>
      </pc:sldChg>
      <pc:sldChg chg="addSp delSp modSp">
        <pc:chgData name="Vetrano, Nicole" userId="S::nvetrano@bwh.harvard.edu::251ed28a-7cb2-4cc8-a8b7-59519a3d4894" providerId="AD" clId="Web-{A551C7AE-A69E-494F-A860-AD53B08E1FC8}" dt="2023-05-06T02:34:51.691" v="8" actId="14100"/>
        <pc:sldMkLst>
          <pc:docMk/>
          <pc:sldMk cId="427793889" sldId="3388"/>
        </pc:sldMkLst>
        <pc:spChg chg="del">
          <ac:chgData name="Vetrano, Nicole" userId="S::nvetrano@bwh.harvard.edu::251ed28a-7cb2-4cc8-a8b7-59519a3d4894" providerId="AD" clId="Web-{A551C7AE-A69E-494F-A860-AD53B08E1FC8}" dt="2023-05-06T02:33:41.018" v="0"/>
          <ac:spMkLst>
            <pc:docMk/>
            <pc:sldMk cId="427793889" sldId="3388"/>
            <ac:spMk id="4" creationId="{D7421D39-93A0-8AF6-6842-AF2F0D63A1B4}"/>
          </ac:spMkLst>
        </pc:spChg>
        <pc:picChg chg="del">
          <ac:chgData name="Vetrano, Nicole" userId="S::nvetrano@bwh.harvard.edu::251ed28a-7cb2-4cc8-a8b7-59519a3d4894" providerId="AD" clId="Web-{A551C7AE-A69E-494F-A860-AD53B08E1FC8}" dt="2023-05-06T02:34:29.535" v="1"/>
          <ac:picMkLst>
            <pc:docMk/>
            <pc:sldMk cId="427793889" sldId="3388"/>
            <ac:picMk id="5" creationId="{819E5339-4F41-B70D-EC82-669917B3EF0B}"/>
          </ac:picMkLst>
        </pc:picChg>
        <pc:picChg chg="add mod">
          <ac:chgData name="Vetrano, Nicole" userId="S::nvetrano@bwh.harvard.edu::251ed28a-7cb2-4cc8-a8b7-59519a3d4894" providerId="AD" clId="Web-{A551C7AE-A69E-494F-A860-AD53B08E1FC8}" dt="2023-05-06T02:34:51.691" v="8" actId="14100"/>
          <ac:picMkLst>
            <pc:docMk/>
            <pc:sldMk cId="427793889" sldId="3388"/>
            <ac:picMk id="6" creationId="{B0C5AD4B-A68B-4BE7-805F-8F0B21D8775F}"/>
          </ac:picMkLst>
        </pc:picChg>
      </pc:sldChg>
      <pc:sldChg chg="addSp delSp modSp">
        <pc:chgData name="Vetrano, Nicole" userId="S::nvetrano@bwh.harvard.edu::251ed28a-7cb2-4cc8-a8b7-59519a3d4894" providerId="AD" clId="Web-{A551C7AE-A69E-494F-A860-AD53B08E1FC8}" dt="2023-05-06T02:54:11.385" v="46" actId="1076"/>
        <pc:sldMkLst>
          <pc:docMk/>
          <pc:sldMk cId="240661228" sldId="3423"/>
        </pc:sldMkLst>
        <pc:spChg chg="del">
          <ac:chgData name="Vetrano, Nicole" userId="S::nvetrano@bwh.harvard.edu::251ed28a-7cb2-4cc8-a8b7-59519a3d4894" providerId="AD" clId="Web-{A551C7AE-A69E-494F-A860-AD53B08E1FC8}" dt="2023-05-06T02:53:43.540" v="42"/>
          <ac:spMkLst>
            <pc:docMk/>
            <pc:sldMk cId="240661228" sldId="3423"/>
            <ac:spMk id="2" creationId="{B27464D7-ED93-C093-5D8A-121272DDC3D0}"/>
          </ac:spMkLst>
        </pc:spChg>
        <pc:picChg chg="add mod">
          <ac:chgData name="Vetrano, Nicole" userId="S::nvetrano@bwh.harvard.edu::251ed28a-7cb2-4cc8-a8b7-59519a3d4894" providerId="AD" clId="Web-{A551C7AE-A69E-494F-A860-AD53B08E1FC8}" dt="2023-05-06T02:54:11.385" v="46" actId="1076"/>
          <ac:picMkLst>
            <pc:docMk/>
            <pc:sldMk cId="240661228" sldId="3423"/>
            <ac:picMk id="3" creationId="{3DDCCE0B-0E40-97D2-B921-7E4C289B30D3}"/>
          </ac:picMkLst>
        </pc:picChg>
        <pc:picChg chg="del">
          <ac:chgData name="Vetrano, Nicole" userId="S::nvetrano@bwh.harvard.edu::251ed28a-7cb2-4cc8-a8b7-59519a3d4894" providerId="AD" clId="Web-{A551C7AE-A69E-494F-A860-AD53B08E1FC8}" dt="2023-05-06T02:53:44.853" v="43"/>
          <ac:picMkLst>
            <pc:docMk/>
            <pc:sldMk cId="240661228" sldId="3423"/>
            <ac:picMk id="7" creationId="{2610C33D-DB2D-1FB3-64DE-4C157DBFCA73}"/>
          </ac:picMkLst>
        </pc:picChg>
      </pc:sldChg>
      <pc:sldChg chg="delSp modSp">
        <pc:chgData name="Vetrano, Nicole" userId="S::nvetrano@bwh.harvard.edu::251ed28a-7cb2-4cc8-a8b7-59519a3d4894" providerId="AD" clId="Web-{A551C7AE-A69E-494F-A860-AD53B08E1FC8}" dt="2023-05-06T03:18:15.409" v="99" actId="20577"/>
        <pc:sldMkLst>
          <pc:docMk/>
          <pc:sldMk cId="2157829121" sldId="3500"/>
        </pc:sldMkLst>
        <pc:spChg chg="del">
          <ac:chgData name="Vetrano, Nicole" userId="S::nvetrano@bwh.harvard.edu::251ed28a-7cb2-4cc8-a8b7-59519a3d4894" providerId="AD" clId="Web-{A551C7AE-A69E-494F-A860-AD53B08E1FC8}" dt="2023-05-06T02:58:20.939" v="72"/>
          <ac:spMkLst>
            <pc:docMk/>
            <pc:sldMk cId="2157829121" sldId="3500"/>
            <ac:spMk id="2" creationId="{9978FF08-5102-5153-D71F-CDCD8C21346D}"/>
          </ac:spMkLst>
        </pc:spChg>
        <pc:spChg chg="mod">
          <ac:chgData name="Vetrano, Nicole" userId="S::nvetrano@bwh.harvard.edu::251ed28a-7cb2-4cc8-a8b7-59519a3d4894" providerId="AD" clId="Web-{A551C7AE-A69E-494F-A860-AD53B08E1FC8}" dt="2023-05-06T03:18:15.409" v="99" actId="20577"/>
          <ac:spMkLst>
            <pc:docMk/>
            <pc:sldMk cId="2157829121" sldId="3500"/>
            <ac:spMk id="3" creationId="{DC1FB5CC-EE33-4D67-A5D0-01136FFFBE11}"/>
          </ac:spMkLst>
        </pc:spChg>
      </pc:sldChg>
      <pc:sldChg chg="addSp delSp modSp">
        <pc:chgData name="Vetrano, Nicole" userId="S::nvetrano@bwh.harvard.edu::251ed28a-7cb2-4cc8-a8b7-59519a3d4894" providerId="AD" clId="Web-{A551C7AE-A69E-494F-A860-AD53B08E1FC8}" dt="2023-05-06T02:55:36.512" v="55" actId="14100"/>
        <pc:sldMkLst>
          <pc:docMk/>
          <pc:sldMk cId="3640228099" sldId="3536"/>
        </pc:sldMkLst>
        <pc:spChg chg="del">
          <ac:chgData name="Vetrano, Nicole" userId="S::nvetrano@bwh.harvard.edu::251ed28a-7cb2-4cc8-a8b7-59519a3d4894" providerId="AD" clId="Web-{A551C7AE-A69E-494F-A860-AD53B08E1FC8}" dt="2023-05-06T02:54:17.697" v="47"/>
          <ac:spMkLst>
            <pc:docMk/>
            <pc:sldMk cId="3640228099" sldId="3536"/>
            <ac:spMk id="3" creationId="{4AD05BA1-DAE5-1822-75DD-71A9AAFFA180}"/>
          </ac:spMkLst>
        </pc:spChg>
        <pc:picChg chg="del">
          <ac:chgData name="Vetrano, Nicole" userId="S::nvetrano@bwh.harvard.edu::251ed28a-7cb2-4cc8-a8b7-59519a3d4894" providerId="AD" clId="Web-{A551C7AE-A69E-494F-A860-AD53B08E1FC8}" dt="2023-05-06T02:54:18.838" v="48"/>
          <ac:picMkLst>
            <pc:docMk/>
            <pc:sldMk cId="3640228099" sldId="3536"/>
            <ac:picMk id="2" creationId="{B0F374E9-B60B-6B03-C9C6-40F04323F9A3}"/>
          </ac:picMkLst>
        </pc:picChg>
        <pc:picChg chg="add mod">
          <ac:chgData name="Vetrano, Nicole" userId="S::nvetrano@bwh.harvard.edu::251ed28a-7cb2-4cc8-a8b7-59519a3d4894" providerId="AD" clId="Web-{A551C7AE-A69E-494F-A860-AD53B08E1FC8}" dt="2023-05-06T02:55:36.512" v="55" actId="14100"/>
          <ac:picMkLst>
            <pc:docMk/>
            <pc:sldMk cId="3640228099" sldId="3536"/>
            <ac:picMk id="5" creationId="{8E790C61-A3B4-1C0E-C489-E2839FAC1D66}"/>
          </ac:picMkLst>
        </pc:picChg>
      </pc:sldChg>
      <pc:sldChg chg="addSp delSp modSp">
        <pc:chgData name="Vetrano, Nicole" userId="S::nvetrano@bwh.harvard.edu::251ed28a-7cb2-4cc8-a8b7-59519a3d4894" providerId="AD" clId="Web-{A551C7AE-A69E-494F-A860-AD53B08E1FC8}" dt="2023-05-06T02:56:29.326" v="62" actId="1076"/>
        <pc:sldMkLst>
          <pc:docMk/>
          <pc:sldMk cId="3537679081" sldId="3537"/>
        </pc:sldMkLst>
        <pc:spChg chg="del">
          <ac:chgData name="Vetrano, Nicole" userId="S::nvetrano@bwh.harvard.edu::251ed28a-7cb2-4cc8-a8b7-59519a3d4894" providerId="AD" clId="Web-{A551C7AE-A69E-494F-A860-AD53B08E1FC8}" dt="2023-05-06T02:55:43.090" v="56"/>
          <ac:spMkLst>
            <pc:docMk/>
            <pc:sldMk cId="3537679081" sldId="3537"/>
            <ac:spMk id="2" creationId="{91EA516A-2339-11ED-B5DF-49210DB2CB00}"/>
          </ac:spMkLst>
        </pc:spChg>
        <pc:picChg chg="add mod">
          <ac:chgData name="Vetrano, Nicole" userId="S::nvetrano@bwh.harvard.edu::251ed28a-7cb2-4cc8-a8b7-59519a3d4894" providerId="AD" clId="Web-{A551C7AE-A69E-494F-A860-AD53B08E1FC8}" dt="2023-05-06T02:56:29.326" v="62" actId="1076"/>
          <ac:picMkLst>
            <pc:docMk/>
            <pc:sldMk cId="3537679081" sldId="3537"/>
            <ac:picMk id="3" creationId="{2ED052AC-550F-501F-5574-7BCEB3148DED}"/>
          </ac:picMkLst>
        </pc:picChg>
        <pc:picChg chg="del">
          <ac:chgData name="Vetrano, Nicole" userId="S::nvetrano@bwh.harvard.edu::251ed28a-7cb2-4cc8-a8b7-59519a3d4894" providerId="AD" clId="Web-{A551C7AE-A69E-494F-A860-AD53B08E1FC8}" dt="2023-05-06T02:55:44.231" v="57"/>
          <ac:picMkLst>
            <pc:docMk/>
            <pc:sldMk cId="3537679081" sldId="3537"/>
            <ac:picMk id="5" creationId="{32CFE688-F6B7-32E7-5FF8-C2FF539DB23B}"/>
          </ac:picMkLst>
        </pc:picChg>
      </pc:sldChg>
      <pc:sldChg chg="addSp delSp modSp">
        <pc:chgData name="Vetrano, Nicole" userId="S::nvetrano@bwh.harvard.edu::251ed28a-7cb2-4cc8-a8b7-59519a3d4894" providerId="AD" clId="Web-{A551C7AE-A69E-494F-A860-AD53B08E1FC8}" dt="2023-05-06T03:18:36.284" v="100" actId="1076"/>
        <pc:sldMkLst>
          <pc:docMk/>
          <pc:sldMk cId="2053167649" sldId="3539"/>
        </pc:sldMkLst>
        <pc:spChg chg="del">
          <ac:chgData name="Vetrano, Nicole" userId="S::nvetrano@bwh.harvard.edu::251ed28a-7cb2-4cc8-a8b7-59519a3d4894" providerId="AD" clId="Web-{A551C7AE-A69E-494F-A860-AD53B08E1FC8}" dt="2023-05-06T02:51:30.847" v="27"/>
          <ac:spMkLst>
            <pc:docMk/>
            <pc:sldMk cId="2053167649" sldId="3539"/>
            <ac:spMk id="2" creationId="{E0C10B16-7258-85BE-5602-A4989B3E1C8B}"/>
          </ac:spMkLst>
        </pc:spChg>
        <pc:picChg chg="add mod">
          <ac:chgData name="Vetrano, Nicole" userId="S::nvetrano@bwh.harvard.edu::251ed28a-7cb2-4cc8-a8b7-59519a3d4894" providerId="AD" clId="Web-{A551C7AE-A69E-494F-A860-AD53B08E1FC8}" dt="2023-05-06T02:52:30.083" v="33" actId="1076"/>
          <ac:picMkLst>
            <pc:docMk/>
            <pc:sldMk cId="2053167649" sldId="3539"/>
            <ac:picMk id="3" creationId="{27B75DCB-E02D-7842-AD49-7D2531F78669}"/>
          </ac:picMkLst>
        </pc:picChg>
        <pc:picChg chg="add mod">
          <ac:chgData name="Vetrano, Nicole" userId="S::nvetrano@bwh.harvard.edu::251ed28a-7cb2-4cc8-a8b7-59519a3d4894" providerId="AD" clId="Web-{A551C7AE-A69E-494F-A860-AD53B08E1FC8}" dt="2023-05-06T03:18:36.284" v="100" actId="1076"/>
          <ac:picMkLst>
            <pc:docMk/>
            <pc:sldMk cId="2053167649" sldId="3539"/>
            <ac:picMk id="4" creationId="{764F459A-61B1-5BEE-54B1-5771719B8CA4}"/>
          </ac:picMkLst>
        </pc:picChg>
        <pc:picChg chg="del">
          <ac:chgData name="Vetrano, Nicole" userId="S::nvetrano@bwh.harvard.edu::251ed28a-7cb2-4cc8-a8b7-59519a3d4894" providerId="AD" clId="Web-{A551C7AE-A69E-494F-A860-AD53B08E1FC8}" dt="2023-05-06T02:53:02.552" v="34"/>
          <ac:picMkLst>
            <pc:docMk/>
            <pc:sldMk cId="2053167649" sldId="3539"/>
            <ac:picMk id="8" creationId="{C89D9360-6E2C-0A45-E7B8-8A078A23072D}"/>
          </ac:picMkLst>
        </pc:picChg>
        <pc:picChg chg="del">
          <ac:chgData name="Vetrano, Nicole" userId="S::nvetrano@bwh.harvard.edu::251ed28a-7cb2-4cc8-a8b7-59519a3d4894" providerId="AD" clId="Web-{A551C7AE-A69E-494F-A860-AD53B08E1FC8}" dt="2023-05-06T02:52:17.723" v="28"/>
          <ac:picMkLst>
            <pc:docMk/>
            <pc:sldMk cId="2053167649" sldId="3539"/>
            <ac:picMk id="9" creationId="{BFD5E379-00C9-F5FE-4546-5EF3A3BB8875}"/>
          </ac:picMkLst>
        </pc:picChg>
      </pc:sldChg>
      <pc:sldChg chg="addSp delSp modSp">
        <pc:chgData name="Vetrano, Nicole" userId="S::nvetrano@bwh.harvard.edu::251ed28a-7cb2-4cc8-a8b7-59519a3d4894" providerId="AD" clId="Web-{A551C7AE-A69E-494F-A860-AD53B08E1FC8}" dt="2023-05-06T02:58:10.954" v="71" actId="1076"/>
        <pc:sldMkLst>
          <pc:docMk/>
          <pc:sldMk cId="3467862585" sldId="3540"/>
        </pc:sldMkLst>
        <pc:spChg chg="del">
          <ac:chgData name="Vetrano, Nicole" userId="S::nvetrano@bwh.harvard.edu::251ed28a-7cb2-4cc8-a8b7-59519a3d4894" providerId="AD" clId="Web-{A551C7AE-A69E-494F-A860-AD53B08E1FC8}" dt="2023-05-06T02:57:51.282" v="64"/>
          <ac:spMkLst>
            <pc:docMk/>
            <pc:sldMk cId="3467862585" sldId="3540"/>
            <ac:spMk id="2" creationId="{6F0AA529-A272-E248-7360-E7AB945B60A3}"/>
          </ac:spMkLst>
        </pc:spChg>
        <pc:picChg chg="add mod">
          <ac:chgData name="Vetrano, Nicole" userId="S::nvetrano@bwh.harvard.edu::251ed28a-7cb2-4cc8-a8b7-59519a3d4894" providerId="AD" clId="Web-{A551C7AE-A69E-494F-A860-AD53B08E1FC8}" dt="2023-05-06T02:58:10.954" v="71" actId="1076"/>
          <ac:picMkLst>
            <pc:docMk/>
            <pc:sldMk cId="3467862585" sldId="3540"/>
            <ac:picMk id="3" creationId="{C525BD87-F868-1611-FE2E-367FE5DB9D40}"/>
          </ac:picMkLst>
        </pc:picChg>
        <pc:picChg chg="del">
          <ac:chgData name="Vetrano, Nicole" userId="S::nvetrano@bwh.harvard.edu::251ed28a-7cb2-4cc8-a8b7-59519a3d4894" providerId="AD" clId="Web-{A551C7AE-A69E-494F-A860-AD53B08E1FC8}" dt="2023-05-06T02:56:33.592" v="63"/>
          <ac:picMkLst>
            <pc:docMk/>
            <pc:sldMk cId="3467862585" sldId="3540"/>
            <ac:picMk id="10" creationId="{D9962DF7-D6FB-B13B-4F70-D8579CD4C0E1}"/>
          </ac:picMkLst>
        </pc:picChg>
      </pc:sldChg>
    </pc:docChg>
  </pc:docChgLst>
  <pc:docChgLst>
    <pc:chgData name="Taj Qureshi" userId="e19f8f9a-4b04-4f30-b58a-5b568dd505d5" providerId="ADAL" clId="{0588F7C4-2D26-4F45-92DF-2C3FB1C35B8C}"/>
    <pc:docChg chg="modSld">
      <pc:chgData name="Taj Qureshi" userId="e19f8f9a-4b04-4f30-b58a-5b568dd505d5" providerId="ADAL" clId="{0588F7C4-2D26-4F45-92DF-2C3FB1C35B8C}" dt="2023-07-03T13:51:15.418" v="99" actId="207"/>
      <pc:docMkLst>
        <pc:docMk/>
      </pc:docMkLst>
      <pc:sldChg chg="modSp mod">
        <pc:chgData name="Taj Qureshi" userId="e19f8f9a-4b04-4f30-b58a-5b568dd505d5" providerId="ADAL" clId="{0588F7C4-2D26-4F45-92DF-2C3FB1C35B8C}" dt="2023-07-03T13:49:47.164" v="7" actId="20577"/>
        <pc:sldMkLst>
          <pc:docMk/>
          <pc:sldMk cId="2201927228" sldId="281"/>
        </pc:sldMkLst>
        <pc:spChg chg="mod">
          <ac:chgData name="Taj Qureshi" userId="e19f8f9a-4b04-4f30-b58a-5b568dd505d5" providerId="ADAL" clId="{0588F7C4-2D26-4F45-92DF-2C3FB1C35B8C}" dt="2023-07-03T13:49:47.164" v="7" actId="20577"/>
          <ac:spMkLst>
            <pc:docMk/>
            <pc:sldMk cId="2201927228" sldId="281"/>
            <ac:spMk id="7" creationId="{7CC54396-97AB-409E-B850-2AE2619B0508}"/>
          </ac:spMkLst>
        </pc:spChg>
      </pc:sldChg>
      <pc:sldChg chg="modSp mod">
        <pc:chgData name="Taj Qureshi" userId="e19f8f9a-4b04-4f30-b58a-5b568dd505d5" providerId="ADAL" clId="{0588F7C4-2D26-4F45-92DF-2C3FB1C35B8C}" dt="2023-07-03T13:49:52.512" v="11" actId="20577"/>
        <pc:sldMkLst>
          <pc:docMk/>
          <pc:sldMk cId="1635790025" sldId="3340"/>
        </pc:sldMkLst>
        <pc:graphicFrameChg chg="modGraphic">
          <ac:chgData name="Taj Qureshi" userId="e19f8f9a-4b04-4f30-b58a-5b568dd505d5" providerId="ADAL" clId="{0588F7C4-2D26-4F45-92DF-2C3FB1C35B8C}" dt="2023-07-03T13:49:52.512" v="11" actId="20577"/>
          <ac:graphicFrameMkLst>
            <pc:docMk/>
            <pc:sldMk cId="1635790025" sldId="3340"/>
            <ac:graphicFrameMk id="4" creationId="{9206FA14-07A6-4D4F-8AD6-A1AE43D08CD3}"/>
          </ac:graphicFrameMkLst>
        </pc:graphicFrameChg>
      </pc:sldChg>
      <pc:sldChg chg="addSp modSp">
        <pc:chgData name="Taj Qureshi" userId="e19f8f9a-4b04-4f30-b58a-5b568dd505d5" providerId="ADAL" clId="{0588F7C4-2D26-4F45-92DF-2C3FB1C35B8C}" dt="2023-07-03T13:50:17.747" v="39"/>
        <pc:sldMkLst>
          <pc:docMk/>
          <pc:sldMk cId="2663093350" sldId="3369"/>
        </pc:sldMkLst>
        <pc:spChg chg="add mod">
          <ac:chgData name="Taj Qureshi" userId="e19f8f9a-4b04-4f30-b58a-5b568dd505d5" providerId="ADAL" clId="{0588F7C4-2D26-4F45-92DF-2C3FB1C35B8C}" dt="2023-07-03T13:50:17.747" v="39"/>
          <ac:spMkLst>
            <pc:docMk/>
            <pc:sldMk cId="2663093350" sldId="3369"/>
            <ac:spMk id="2" creationId="{062EDC39-B593-BDDF-F21F-0716E92917CC}"/>
          </ac:spMkLst>
        </pc:spChg>
      </pc:sldChg>
      <pc:sldChg chg="addSp modSp mod">
        <pc:chgData name="Taj Qureshi" userId="e19f8f9a-4b04-4f30-b58a-5b568dd505d5" providerId="ADAL" clId="{0588F7C4-2D26-4F45-92DF-2C3FB1C35B8C}" dt="2023-07-03T13:50:13.944" v="37" actId="1076"/>
        <pc:sldMkLst>
          <pc:docMk/>
          <pc:sldMk cId="427793889" sldId="3388"/>
        </pc:sldMkLst>
        <pc:spChg chg="add mod">
          <ac:chgData name="Taj Qureshi" userId="e19f8f9a-4b04-4f30-b58a-5b568dd505d5" providerId="ADAL" clId="{0588F7C4-2D26-4F45-92DF-2C3FB1C35B8C}" dt="2023-07-03T13:50:13.944" v="37" actId="1076"/>
          <ac:spMkLst>
            <pc:docMk/>
            <pc:sldMk cId="427793889" sldId="3388"/>
            <ac:spMk id="4" creationId="{8632F05C-A839-C738-7FBF-A99C26657DD8}"/>
          </ac:spMkLst>
        </pc:spChg>
      </pc:sldChg>
      <pc:sldChg chg="addSp modSp">
        <pc:chgData name="Taj Qureshi" userId="e19f8f9a-4b04-4f30-b58a-5b568dd505d5" providerId="ADAL" clId="{0588F7C4-2D26-4F45-92DF-2C3FB1C35B8C}" dt="2023-07-03T13:50:19.164" v="40"/>
        <pc:sldMkLst>
          <pc:docMk/>
          <pc:sldMk cId="240661228" sldId="3423"/>
        </pc:sldMkLst>
        <pc:spChg chg="add mod">
          <ac:chgData name="Taj Qureshi" userId="e19f8f9a-4b04-4f30-b58a-5b568dd505d5" providerId="ADAL" clId="{0588F7C4-2D26-4F45-92DF-2C3FB1C35B8C}" dt="2023-07-03T13:50:19.164" v="40"/>
          <ac:spMkLst>
            <pc:docMk/>
            <pc:sldMk cId="240661228" sldId="3423"/>
            <ac:spMk id="2" creationId="{4A4A3C61-8096-F778-5253-F679DE8B9837}"/>
          </ac:spMkLst>
        </pc:spChg>
      </pc:sldChg>
      <pc:sldChg chg="addSp modSp mod">
        <pc:chgData name="Taj Qureshi" userId="e19f8f9a-4b04-4f30-b58a-5b568dd505d5" providerId="ADAL" clId="{0588F7C4-2D26-4F45-92DF-2C3FB1C35B8C}" dt="2023-07-03T13:51:15.418" v="99" actId="207"/>
        <pc:sldMkLst>
          <pc:docMk/>
          <pc:sldMk cId="2157829121" sldId="3500"/>
        </pc:sldMkLst>
        <pc:spChg chg="add mod">
          <ac:chgData name="Taj Qureshi" userId="e19f8f9a-4b04-4f30-b58a-5b568dd505d5" providerId="ADAL" clId="{0588F7C4-2D26-4F45-92DF-2C3FB1C35B8C}" dt="2023-07-03T13:50:22.241" v="42"/>
          <ac:spMkLst>
            <pc:docMk/>
            <pc:sldMk cId="2157829121" sldId="3500"/>
            <ac:spMk id="2" creationId="{D704ED81-739C-EE54-52B4-EADB24506D07}"/>
          </ac:spMkLst>
        </pc:spChg>
        <pc:spChg chg="mod">
          <ac:chgData name="Taj Qureshi" userId="e19f8f9a-4b04-4f30-b58a-5b568dd505d5" providerId="ADAL" clId="{0588F7C4-2D26-4F45-92DF-2C3FB1C35B8C}" dt="2023-07-03T13:51:15.418" v="99" actId="207"/>
          <ac:spMkLst>
            <pc:docMk/>
            <pc:sldMk cId="2157829121" sldId="3500"/>
            <ac:spMk id="3" creationId="{DC1FB5CC-EE33-4D67-A5D0-01136FFFBE11}"/>
          </ac:spMkLst>
        </pc:spChg>
      </pc:sldChg>
      <pc:sldChg chg="addSp modSp">
        <pc:chgData name="Taj Qureshi" userId="e19f8f9a-4b04-4f30-b58a-5b568dd505d5" providerId="ADAL" clId="{0588F7C4-2D26-4F45-92DF-2C3FB1C35B8C}" dt="2023-07-03T13:50:20.716" v="41"/>
        <pc:sldMkLst>
          <pc:docMk/>
          <pc:sldMk cId="3640228099" sldId="3536"/>
        </pc:sldMkLst>
        <pc:spChg chg="add mod">
          <ac:chgData name="Taj Qureshi" userId="e19f8f9a-4b04-4f30-b58a-5b568dd505d5" providerId="ADAL" clId="{0588F7C4-2D26-4F45-92DF-2C3FB1C35B8C}" dt="2023-07-03T13:50:20.716" v="41"/>
          <ac:spMkLst>
            <pc:docMk/>
            <pc:sldMk cId="3640228099" sldId="3536"/>
            <ac:spMk id="2" creationId="{4B4F5B53-894D-63D1-2895-4AF4E257FEC2}"/>
          </ac:spMkLst>
        </pc:spChg>
      </pc:sldChg>
      <pc:sldChg chg="addSp modSp">
        <pc:chgData name="Taj Qureshi" userId="e19f8f9a-4b04-4f30-b58a-5b568dd505d5" providerId="ADAL" clId="{0588F7C4-2D26-4F45-92DF-2C3FB1C35B8C}" dt="2023-07-03T13:50:24.007" v="43"/>
        <pc:sldMkLst>
          <pc:docMk/>
          <pc:sldMk cId="3537679081" sldId="3537"/>
        </pc:sldMkLst>
        <pc:spChg chg="add mod">
          <ac:chgData name="Taj Qureshi" userId="e19f8f9a-4b04-4f30-b58a-5b568dd505d5" providerId="ADAL" clId="{0588F7C4-2D26-4F45-92DF-2C3FB1C35B8C}" dt="2023-07-03T13:50:24.007" v="43"/>
          <ac:spMkLst>
            <pc:docMk/>
            <pc:sldMk cId="3537679081" sldId="3537"/>
            <ac:spMk id="2" creationId="{C05E6AFA-CB6B-A434-CB64-544C17C44E93}"/>
          </ac:spMkLst>
        </pc:spChg>
      </pc:sldChg>
      <pc:sldChg chg="addSp modSp">
        <pc:chgData name="Taj Qureshi" userId="e19f8f9a-4b04-4f30-b58a-5b568dd505d5" providerId="ADAL" clId="{0588F7C4-2D26-4F45-92DF-2C3FB1C35B8C}" dt="2023-07-03T13:50:16.215" v="38"/>
        <pc:sldMkLst>
          <pc:docMk/>
          <pc:sldMk cId="2053167649" sldId="3539"/>
        </pc:sldMkLst>
        <pc:spChg chg="add mod">
          <ac:chgData name="Taj Qureshi" userId="e19f8f9a-4b04-4f30-b58a-5b568dd505d5" providerId="ADAL" clId="{0588F7C4-2D26-4F45-92DF-2C3FB1C35B8C}" dt="2023-07-03T13:50:16.215" v="38"/>
          <ac:spMkLst>
            <pc:docMk/>
            <pc:sldMk cId="2053167649" sldId="3539"/>
            <ac:spMk id="2" creationId="{3EE3D306-772A-E0E5-01CA-E1D385406EC3}"/>
          </ac:spMkLst>
        </pc:spChg>
      </pc:sldChg>
      <pc:sldChg chg="addSp modSp">
        <pc:chgData name="Taj Qureshi" userId="e19f8f9a-4b04-4f30-b58a-5b568dd505d5" providerId="ADAL" clId="{0588F7C4-2D26-4F45-92DF-2C3FB1C35B8C}" dt="2023-07-03T13:50:25.618" v="44"/>
        <pc:sldMkLst>
          <pc:docMk/>
          <pc:sldMk cId="3467862585" sldId="3540"/>
        </pc:sldMkLst>
        <pc:spChg chg="add mod">
          <ac:chgData name="Taj Qureshi" userId="e19f8f9a-4b04-4f30-b58a-5b568dd505d5" providerId="ADAL" clId="{0588F7C4-2D26-4F45-92DF-2C3FB1C35B8C}" dt="2023-07-03T13:50:25.618" v="44"/>
          <ac:spMkLst>
            <pc:docMk/>
            <pc:sldMk cId="3467862585" sldId="3540"/>
            <ac:spMk id="2" creationId="{EFDF62EC-3452-5B49-6F4A-5A95F9E8E934}"/>
          </ac:spMkLst>
        </pc:spChg>
      </pc:sldChg>
    </pc:docChg>
  </pc:docChgLst>
  <pc:docChgLst>
    <pc:chgData name="Qureshi, Taj F." userId="e19f8f9a-4b04-4f30-b58a-5b568dd505d5" providerId="ADAL" clId="{A7363FFD-5819-40AF-84D8-C8FFEE1C8DDC}"/>
    <pc:docChg chg="custSel delSld modSld">
      <pc:chgData name="Qureshi, Taj F." userId="e19f8f9a-4b04-4f30-b58a-5b568dd505d5" providerId="ADAL" clId="{A7363FFD-5819-40AF-84D8-C8FFEE1C8DDC}" dt="2022-11-04T16:16:48.863" v="54" actId="47"/>
      <pc:docMkLst>
        <pc:docMk/>
      </pc:docMkLst>
      <pc:sldChg chg="modSp mod">
        <pc:chgData name="Qureshi, Taj F." userId="e19f8f9a-4b04-4f30-b58a-5b568dd505d5" providerId="ADAL" clId="{A7363FFD-5819-40AF-84D8-C8FFEE1C8DDC}" dt="2022-10-27T15:18:44.005" v="21" actId="20577"/>
        <pc:sldMkLst>
          <pc:docMk/>
          <pc:sldMk cId="2201927228" sldId="281"/>
        </pc:sldMkLst>
        <pc:spChg chg="mod">
          <ac:chgData name="Qureshi, Taj F." userId="e19f8f9a-4b04-4f30-b58a-5b568dd505d5" providerId="ADAL" clId="{A7363FFD-5819-40AF-84D8-C8FFEE1C8DDC}" dt="2022-10-27T15:18:44.005" v="21" actId="20577"/>
          <ac:spMkLst>
            <pc:docMk/>
            <pc:sldMk cId="2201927228" sldId="281"/>
            <ac:spMk id="7" creationId="{7CC54396-97AB-409E-B850-2AE2619B0508}"/>
          </ac:spMkLst>
        </pc:spChg>
      </pc:sldChg>
      <pc:sldChg chg="modSp mod">
        <pc:chgData name="Qureshi, Taj F." userId="e19f8f9a-4b04-4f30-b58a-5b568dd505d5" providerId="ADAL" clId="{A7363FFD-5819-40AF-84D8-C8FFEE1C8DDC}" dt="2022-10-27T15:18:36.963" v="7" actId="20577"/>
        <pc:sldMkLst>
          <pc:docMk/>
          <pc:sldMk cId="1635790025" sldId="3340"/>
        </pc:sldMkLst>
        <pc:graphicFrameChg chg="modGraphic">
          <ac:chgData name="Qureshi, Taj F." userId="e19f8f9a-4b04-4f30-b58a-5b568dd505d5" providerId="ADAL" clId="{A7363FFD-5819-40AF-84D8-C8FFEE1C8DDC}" dt="2022-10-27T15:18:36.963" v="7" actId="20577"/>
          <ac:graphicFrameMkLst>
            <pc:docMk/>
            <pc:sldMk cId="1635790025" sldId="3340"/>
            <ac:graphicFrameMk id="4" creationId="{9206FA14-07A6-4D4F-8AD6-A1AE43D08CD3}"/>
          </ac:graphicFrameMkLst>
        </pc:graphicFrameChg>
      </pc:sldChg>
      <pc:sldChg chg="addSp modSp">
        <pc:chgData name="Qureshi, Taj F." userId="e19f8f9a-4b04-4f30-b58a-5b568dd505d5" providerId="ADAL" clId="{A7363FFD-5819-40AF-84D8-C8FFEE1C8DDC}" dt="2022-10-27T15:19:09.511" v="41"/>
        <pc:sldMkLst>
          <pc:docMk/>
          <pc:sldMk cId="4260925014" sldId="3368"/>
        </pc:sldMkLst>
        <pc:spChg chg="add mod">
          <ac:chgData name="Qureshi, Taj F." userId="e19f8f9a-4b04-4f30-b58a-5b568dd505d5" providerId="ADAL" clId="{A7363FFD-5819-40AF-84D8-C8FFEE1C8DDC}" dt="2022-10-27T15:19:09.511" v="41"/>
          <ac:spMkLst>
            <pc:docMk/>
            <pc:sldMk cId="4260925014" sldId="3368"/>
            <ac:spMk id="8" creationId="{AA103512-617A-4D41-84B6-341AF70CBB16}"/>
          </ac:spMkLst>
        </pc:spChg>
      </pc:sldChg>
      <pc:sldChg chg="addSp modSp modNotesTx">
        <pc:chgData name="Qureshi, Taj F." userId="e19f8f9a-4b04-4f30-b58a-5b568dd505d5" providerId="ADAL" clId="{A7363FFD-5819-40AF-84D8-C8FFEE1C8DDC}" dt="2022-11-04T16:15:01.292" v="53" actId="20577"/>
        <pc:sldMkLst>
          <pc:docMk/>
          <pc:sldMk cId="2663093350" sldId="3369"/>
        </pc:sldMkLst>
        <pc:spChg chg="add mod">
          <ac:chgData name="Qureshi, Taj F." userId="e19f8f9a-4b04-4f30-b58a-5b568dd505d5" providerId="ADAL" clId="{A7363FFD-5819-40AF-84D8-C8FFEE1C8DDC}" dt="2022-10-27T15:19:12.324" v="42"/>
          <ac:spMkLst>
            <pc:docMk/>
            <pc:sldMk cId="2663093350" sldId="3369"/>
            <ac:spMk id="7" creationId="{2719AEC7-D54D-471C-86C7-48EDDCEF3ACD}"/>
          </ac:spMkLst>
        </pc:spChg>
      </pc:sldChg>
      <pc:sldChg chg="addSp modSp mod">
        <pc:chgData name="Qureshi, Taj F." userId="e19f8f9a-4b04-4f30-b58a-5b568dd505d5" providerId="ADAL" clId="{A7363FFD-5819-40AF-84D8-C8FFEE1C8DDC}" dt="2022-11-04T16:14:39.372" v="51" actId="1076"/>
        <pc:sldMkLst>
          <pc:docMk/>
          <pc:sldMk cId="427793889" sldId="3388"/>
        </pc:sldMkLst>
        <pc:spChg chg="add mod">
          <ac:chgData name="Qureshi, Taj F." userId="e19f8f9a-4b04-4f30-b58a-5b568dd505d5" providerId="ADAL" clId="{A7363FFD-5819-40AF-84D8-C8FFEE1C8DDC}" dt="2022-10-27T15:19:06.202" v="40" actId="1076"/>
          <ac:spMkLst>
            <pc:docMk/>
            <pc:sldMk cId="427793889" sldId="3388"/>
            <ac:spMk id="3" creationId="{287353DB-88AF-4A2B-8E00-E88B30BC2B15}"/>
          </ac:spMkLst>
        </pc:spChg>
        <pc:picChg chg="mod">
          <ac:chgData name="Qureshi, Taj F." userId="e19f8f9a-4b04-4f30-b58a-5b568dd505d5" providerId="ADAL" clId="{A7363FFD-5819-40AF-84D8-C8FFEE1C8DDC}" dt="2022-11-04T16:14:39.372" v="51" actId="1076"/>
          <ac:picMkLst>
            <pc:docMk/>
            <pc:sldMk cId="427793889" sldId="3388"/>
            <ac:picMk id="4" creationId="{7462EABC-9AC3-4849-EE87-83E942668FF8}"/>
          </ac:picMkLst>
        </pc:picChg>
      </pc:sldChg>
      <pc:sldChg chg="addSp modSp">
        <pc:chgData name="Qureshi, Taj F." userId="e19f8f9a-4b04-4f30-b58a-5b568dd505d5" providerId="ADAL" clId="{A7363FFD-5819-40AF-84D8-C8FFEE1C8DDC}" dt="2022-10-27T15:19:14.134" v="43"/>
        <pc:sldMkLst>
          <pc:docMk/>
          <pc:sldMk cId="240661228" sldId="3423"/>
        </pc:sldMkLst>
        <pc:spChg chg="add mod">
          <ac:chgData name="Qureshi, Taj F." userId="e19f8f9a-4b04-4f30-b58a-5b568dd505d5" providerId="ADAL" clId="{A7363FFD-5819-40AF-84D8-C8FFEE1C8DDC}" dt="2022-10-27T15:19:14.134" v="43"/>
          <ac:spMkLst>
            <pc:docMk/>
            <pc:sldMk cId="240661228" sldId="3423"/>
            <ac:spMk id="4" creationId="{C4999C95-6487-4A18-BA75-27629B3BCCBF}"/>
          </ac:spMkLst>
        </pc:spChg>
      </pc:sldChg>
      <pc:sldChg chg="addSp modSp">
        <pc:chgData name="Qureshi, Taj F." userId="e19f8f9a-4b04-4f30-b58a-5b568dd505d5" providerId="ADAL" clId="{A7363FFD-5819-40AF-84D8-C8FFEE1C8DDC}" dt="2022-10-27T15:19:17.538" v="45"/>
        <pc:sldMkLst>
          <pc:docMk/>
          <pc:sldMk cId="2157829121" sldId="3500"/>
        </pc:sldMkLst>
        <pc:spChg chg="add mod">
          <ac:chgData name="Qureshi, Taj F." userId="e19f8f9a-4b04-4f30-b58a-5b568dd505d5" providerId="ADAL" clId="{A7363FFD-5819-40AF-84D8-C8FFEE1C8DDC}" dt="2022-10-27T15:19:17.538" v="45"/>
          <ac:spMkLst>
            <pc:docMk/>
            <pc:sldMk cId="2157829121" sldId="3500"/>
            <ac:spMk id="4" creationId="{0F70B232-C93B-4780-9011-14469616B998}"/>
          </ac:spMkLst>
        </pc:spChg>
      </pc:sldChg>
      <pc:sldChg chg="addSp modSp">
        <pc:chgData name="Qureshi, Taj F." userId="e19f8f9a-4b04-4f30-b58a-5b568dd505d5" providerId="ADAL" clId="{A7363FFD-5819-40AF-84D8-C8FFEE1C8DDC}" dt="2022-10-27T15:19:15.822" v="44"/>
        <pc:sldMkLst>
          <pc:docMk/>
          <pc:sldMk cId="3640228099" sldId="3536"/>
        </pc:sldMkLst>
        <pc:spChg chg="add mod">
          <ac:chgData name="Qureshi, Taj F." userId="e19f8f9a-4b04-4f30-b58a-5b568dd505d5" providerId="ADAL" clId="{A7363FFD-5819-40AF-84D8-C8FFEE1C8DDC}" dt="2022-10-27T15:19:15.822" v="44"/>
          <ac:spMkLst>
            <pc:docMk/>
            <pc:sldMk cId="3640228099" sldId="3536"/>
            <ac:spMk id="6" creationId="{91A6FF07-3717-4888-A925-A8F869CDB1C8}"/>
          </ac:spMkLst>
        </pc:spChg>
      </pc:sldChg>
      <pc:sldChg chg="addSp modSp">
        <pc:chgData name="Qureshi, Taj F." userId="e19f8f9a-4b04-4f30-b58a-5b568dd505d5" providerId="ADAL" clId="{A7363FFD-5819-40AF-84D8-C8FFEE1C8DDC}" dt="2022-10-27T15:19:22.158" v="46"/>
        <pc:sldMkLst>
          <pc:docMk/>
          <pc:sldMk cId="3537679081" sldId="3537"/>
        </pc:sldMkLst>
        <pc:spChg chg="add mod">
          <ac:chgData name="Qureshi, Taj F." userId="e19f8f9a-4b04-4f30-b58a-5b568dd505d5" providerId="ADAL" clId="{A7363FFD-5819-40AF-84D8-C8FFEE1C8DDC}" dt="2022-10-27T15:19:22.158" v="46"/>
          <ac:spMkLst>
            <pc:docMk/>
            <pc:sldMk cId="3537679081" sldId="3537"/>
            <ac:spMk id="6" creationId="{ED8F50DF-B5BE-4CE0-A02C-83B85326C2CB}"/>
          </ac:spMkLst>
        </pc:spChg>
      </pc:sldChg>
      <pc:sldChg chg="addSp modSp del">
        <pc:chgData name="Qureshi, Taj F." userId="e19f8f9a-4b04-4f30-b58a-5b568dd505d5" providerId="ADAL" clId="{A7363FFD-5819-40AF-84D8-C8FFEE1C8DDC}" dt="2022-11-04T16:16:48.863" v="54" actId="47"/>
        <pc:sldMkLst>
          <pc:docMk/>
          <pc:sldMk cId="142062400" sldId="3538"/>
        </pc:sldMkLst>
        <pc:spChg chg="add mod">
          <ac:chgData name="Qureshi, Taj F." userId="e19f8f9a-4b04-4f30-b58a-5b568dd505d5" providerId="ADAL" clId="{A7363FFD-5819-40AF-84D8-C8FFEE1C8DDC}" dt="2022-10-27T15:19:23.866" v="47"/>
          <ac:spMkLst>
            <pc:docMk/>
            <pc:sldMk cId="142062400" sldId="3538"/>
            <ac:spMk id="12" creationId="{B599A321-471D-4FE1-B526-8FF54752BAA3}"/>
          </ac:spMkLst>
        </pc:spChg>
      </pc:sldChg>
      <pc:sldChg chg="modNotesTx">
        <pc:chgData name="Qureshi, Taj F." userId="e19f8f9a-4b04-4f30-b58a-5b568dd505d5" providerId="ADAL" clId="{A7363FFD-5819-40AF-84D8-C8FFEE1C8DDC}" dt="2022-11-04T16:14:29.421" v="49" actId="20577"/>
        <pc:sldMkLst>
          <pc:docMk/>
          <pc:sldMk cId="2053167649" sldId="3539"/>
        </pc:sldMkLst>
      </pc:sldChg>
    </pc:docChg>
  </pc:docChgLst>
  <pc:docChgLst>
    <pc:chgData name="Vetrano, Nicole" userId="S::nvetrano@bwh.harvard.edu::251ed28a-7cb2-4cc8-a8b7-59519a3d4894" providerId="AD" clId="Web-{38475DD0-C565-48BF-122A-1D79352A74E0}"/>
    <pc:docChg chg="modSld">
      <pc:chgData name="Vetrano, Nicole" userId="S::nvetrano@bwh.harvard.edu::251ed28a-7cb2-4cc8-a8b7-59519a3d4894" providerId="AD" clId="Web-{38475DD0-C565-48BF-122A-1D79352A74E0}" dt="2022-12-07T01:23:14.230" v="96" actId="1076"/>
      <pc:docMkLst>
        <pc:docMk/>
      </pc:docMkLst>
      <pc:sldChg chg="addSp delSp modSp">
        <pc:chgData name="Vetrano, Nicole" userId="S::nvetrano@bwh.harvard.edu::251ed28a-7cb2-4cc8-a8b7-59519a3d4894" providerId="AD" clId="Web-{38475DD0-C565-48BF-122A-1D79352A74E0}" dt="2022-12-07T00:46:22.204" v="28" actId="1076"/>
        <pc:sldMkLst>
          <pc:docMk/>
          <pc:sldMk cId="2663093350" sldId="3369"/>
        </pc:sldMkLst>
        <pc:spChg chg="del">
          <ac:chgData name="Vetrano, Nicole" userId="S::nvetrano@bwh.harvard.edu::251ed28a-7cb2-4cc8-a8b7-59519a3d4894" providerId="AD" clId="Web-{38475DD0-C565-48BF-122A-1D79352A74E0}" dt="2022-12-07T00:45:32.671" v="19"/>
          <ac:spMkLst>
            <pc:docMk/>
            <pc:sldMk cId="2663093350" sldId="3369"/>
            <ac:spMk id="7" creationId="{109BB1AE-7118-4CFD-9A8D-1F6EE7C70128}"/>
          </ac:spMkLst>
        </pc:spChg>
        <pc:picChg chg="add mod">
          <ac:chgData name="Vetrano, Nicole" userId="S::nvetrano@bwh.harvard.edu::251ed28a-7cb2-4cc8-a8b7-59519a3d4894" providerId="AD" clId="Web-{38475DD0-C565-48BF-122A-1D79352A74E0}" dt="2022-12-07T00:45:57.187" v="24" actId="1076"/>
          <ac:picMkLst>
            <pc:docMk/>
            <pc:sldMk cId="2663093350" sldId="3369"/>
            <ac:picMk id="2" creationId="{1B846EF8-D159-7641-2706-B32D86028D27}"/>
          </ac:picMkLst>
        </pc:picChg>
        <pc:picChg chg="add mod">
          <ac:chgData name="Vetrano, Nicole" userId="S::nvetrano@bwh.harvard.edu::251ed28a-7cb2-4cc8-a8b7-59519a3d4894" providerId="AD" clId="Web-{38475DD0-C565-48BF-122A-1D79352A74E0}" dt="2022-12-07T00:46:22.204" v="28" actId="1076"/>
          <ac:picMkLst>
            <pc:docMk/>
            <pc:sldMk cId="2663093350" sldId="3369"/>
            <ac:picMk id="3" creationId="{38CDB83B-1C43-8925-7EF8-C98B0830800E}"/>
          </ac:picMkLst>
        </pc:picChg>
        <pc:picChg chg="del">
          <ac:chgData name="Vetrano, Nicole" userId="S::nvetrano@bwh.harvard.edu::251ed28a-7cb2-4cc8-a8b7-59519a3d4894" providerId="AD" clId="Web-{38475DD0-C565-48BF-122A-1D79352A74E0}" dt="2022-12-07T00:45:34.421" v="20"/>
          <ac:picMkLst>
            <pc:docMk/>
            <pc:sldMk cId="2663093350" sldId="3369"/>
            <ac:picMk id="4" creationId="{3AE88BB8-9FE5-A3BC-BCEB-D0C3368213B4}"/>
          </ac:picMkLst>
        </pc:picChg>
        <pc:picChg chg="del">
          <ac:chgData name="Vetrano, Nicole" userId="S::nvetrano@bwh.harvard.edu::251ed28a-7cb2-4cc8-a8b7-59519a3d4894" providerId="AD" clId="Web-{38475DD0-C565-48BF-122A-1D79352A74E0}" dt="2022-12-07T00:45:35.327" v="21"/>
          <ac:picMkLst>
            <pc:docMk/>
            <pc:sldMk cId="2663093350" sldId="3369"/>
            <ac:picMk id="6" creationId="{8A8A17C4-F14A-2CF6-CB71-82395AFA2C80}"/>
          </ac:picMkLst>
        </pc:picChg>
      </pc:sldChg>
      <pc:sldChg chg="addSp delSp modSp">
        <pc:chgData name="Vetrano, Nicole" userId="S::nvetrano@bwh.harvard.edu::251ed28a-7cb2-4cc8-a8b7-59519a3d4894" providerId="AD" clId="Web-{38475DD0-C565-48BF-122A-1D79352A74E0}" dt="2022-12-07T00:43:58.997" v="9" actId="1076"/>
        <pc:sldMkLst>
          <pc:docMk/>
          <pc:sldMk cId="427793889" sldId="3388"/>
        </pc:sldMkLst>
        <pc:spChg chg="del">
          <ac:chgData name="Vetrano, Nicole" userId="S::nvetrano@bwh.harvard.edu::251ed28a-7cb2-4cc8-a8b7-59519a3d4894" providerId="AD" clId="Web-{38475DD0-C565-48BF-122A-1D79352A74E0}" dt="2022-12-07T00:42:11.697" v="0"/>
          <ac:spMkLst>
            <pc:docMk/>
            <pc:sldMk cId="427793889" sldId="3388"/>
            <ac:spMk id="5" creationId="{59311F34-90C4-4C31-892F-B7AEF70D74D1}"/>
          </ac:spMkLst>
        </pc:spChg>
        <pc:picChg chg="add mod">
          <ac:chgData name="Vetrano, Nicole" userId="S::nvetrano@bwh.harvard.edu::251ed28a-7cb2-4cc8-a8b7-59519a3d4894" providerId="AD" clId="Web-{38475DD0-C565-48BF-122A-1D79352A74E0}" dt="2022-12-07T00:43:58.997" v="9" actId="1076"/>
          <ac:picMkLst>
            <pc:docMk/>
            <pc:sldMk cId="427793889" sldId="3388"/>
            <ac:picMk id="2" creationId="{FCB0FEEB-3F80-E583-E6B1-6AF90CAF4382}"/>
          </ac:picMkLst>
        </pc:picChg>
        <pc:picChg chg="del">
          <ac:chgData name="Vetrano, Nicole" userId="S::nvetrano@bwh.harvard.edu::251ed28a-7cb2-4cc8-a8b7-59519a3d4894" providerId="AD" clId="Web-{38475DD0-C565-48BF-122A-1D79352A74E0}" dt="2022-12-07T00:42:13.135" v="1"/>
          <ac:picMkLst>
            <pc:docMk/>
            <pc:sldMk cId="427793889" sldId="3388"/>
            <ac:picMk id="4" creationId="{7462EABC-9AC3-4849-EE87-83E942668FF8}"/>
          </ac:picMkLst>
        </pc:picChg>
      </pc:sldChg>
      <pc:sldChg chg="addSp delSp modSp">
        <pc:chgData name="Vetrano, Nicole" userId="S::nvetrano@bwh.harvard.edu::251ed28a-7cb2-4cc8-a8b7-59519a3d4894" providerId="AD" clId="Web-{38475DD0-C565-48BF-122A-1D79352A74E0}" dt="2022-12-07T00:46:58.579" v="38" actId="1076"/>
        <pc:sldMkLst>
          <pc:docMk/>
          <pc:sldMk cId="240661228" sldId="3423"/>
        </pc:sldMkLst>
        <pc:spChg chg="del">
          <ac:chgData name="Vetrano, Nicole" userId="S::nvetrano@bwh.harvard.edu::251ed28a-7cb2-4cc8-a8b7-59519a3d4894" providerId="AD" clId="Web-{38475DD0-C565-48BF-122A-1D79352A74E0}" dt="2022-12-07T00:46:25.782" v="29"/>
          <ac:spMkLst>
            <pc:docMk/>
            <pc:sldMk cId="240661228" sldId="3423"/>
            <ac:spMk id="6" creationId="{F121DF79-A973-425C-894F-ABDD800A8905}"/>
          </ac:spMkLst>
        </pc:spChg>
        <pc:picChg chg="add mod">
          <ac:chgData name="Vetrano, Nicole" userId="S::nvetrano@bwh.harvard.edu::251ed28a-7cb2-4cc8-a8b7-59519a3d4894" providerId="AD" clId="Web-{38475DD0-C565-48BF-122A-1D79352A74E0}" dt="2022-12-07T00:46:58.579" v="38" actId="1076"/>
          <ac:picMkLst>
            <pc:docMk/>
            <pc:sldMk cId="240661228" sldId="3423"/>
            <ac:picMk id="2" creationId="{5B03F5F5-A7A8-EC6B-1BAD-CC0BEDE38373}"/>
          </ac:picMkLst>
        </pc:picChg>
        <pc:picChg chg="del">
          <ac:chgData name="Vetrano, Nicole" userId="S::nvetrano@bwh.harvard.edu::251ed28a-7cb2-4cc8-a8b7-59519a3d4894" providerId="AD" clId="Web-{38475DD0-C565-48BF-122A-1D79352A74E0}" dt="2022-12-07T00:46:26.344" v="30"/>
          <ac:picMkLst>
            <pc:docMk/>
            <pc:sldMk cId="240661228" sldId="3423"/>
            <ac:picMk id="3" creationId="{0329B926-9BA6-5CBB-4DA2-99FAFEBE6386}"/>
          </ac:picMkLst>
        </pc:picChg>
      </pc:sldChg>
      <pc:sldChg chg="delSp modSp">
        <pc:chgData name="Vetrano, Nicole" userId="S::nvetrano@bwh.harvard.edu::251ed28a-7cb2-4cc8-a8b7-59519a3d4894" providerId="AD" clId="Web-{38475DD0-C565-48BF-122A-1D79352A74E0}" dt="2022-12-07T01:22:23.839" v="89" actId="20577"/>
        <pc:sldMkLst>
          <pc:docMk/>
          <pc:sldMk cId="2157829121" sldId="3500"/>
        </pc:sldMkLst>
        <pc:spChg chg="mod">
          <ac:chgData name="Vetrano, Nicole" userId="S::nvetrano@bwh.harvard.edu::251ed28a-7cb2-4cc8-a8b7-59519a3d4894" providerId="AD" clId="Web-{38475DD0-C565-48BF-122A-1D79352A74E0}" dt="2022-12-07T01:22:23.839" v="89" actId="20577"/>
          <ac:spMkLst>
            <pc:docMk/>
            <pc:sldMk cId="2157829121" sldId="3500"/>
            <ac:spMk id="3" creationId="{DC1FB5CC-EE33-4D67-A5D0-01136FFFBE11}"/>
          </ac:spMkLst>
        </pc:spChg>
        <pc:spChg chg="del">
          <ac:chgData name="Vetrano, Nicole" userId="S::nvetrano@bwh.harvard.edu::251ed28a-7cb2-4cc8-a8b7-59519a3d4894" providerId="AD" clId="Web-{38475DD0-C565-48BF-122A-1D79352A74E0}" dt="2022-12-07T01:14:54.078" v="62"/>
          <ac:spMkLst>
            <pc:docMk/>
            <pc:sldMk cId="2157829121" sldId="3500"/>
            <ac:spMk id="4" creationId="{35E5C50D-38E4-4D86-ACCA-791608BE271F}"/>
          </ac:spMkLst>
        </pc:spChg>
      </pc:sldChg>
      <pc:sldChg chg="addSp delSp modSp">
        <pc:chgData name="Vetrano, Nicole" userId="S::nvetrano@bwh.harvard.edu::251ed28a-7cb2-4cc8-a8b7-59519a3d4894" providerId="AD" clId="Web-{38475DD0-C565-48BF-122A-1D79352A74E0}" dt="2022-12-07T00:47:28.596" v="46" actId="1076"/>
        <pc:sldMkLst>
          <pc:docMk/>
          <pc:sldMk cId="3640228099" sldId="3536"/>
        </pc:sldMkLst>
        <pc:spChg chg="del">
          <ac:chgData name="Vetrano, Nicole" userId="S::nvetrano@bwh.harvard.edu::251ed28a-7cb2-4cc8-a8b7-59519a3d4894" providerId="AD" clId="Web-{38475DD0-C565-48BF-122A-1D79352A74E0}" dt="2022-12-07T00:47:02.392" v="39"/>
          <ac:spMkLst>
            <pc:docMk/>
            <pc:sldMk cId="3640228099" sldId="3536"/>
            <ac:spMk id="6" creationId="{F5C1A81F-C1D4-42B6-AECA-90B4B6D8AF44}"/>
          </ac:spMkLst>
        </pc:spChg>
        <pc:picChg chg="add mod">
          <ac:chgData name="Vetrano, Nicole" userId="S::nvetrano@bwh.harvard.edu::251ed28a-7cb2-4cc8-a8b7-59519a3d4894" providerId="AD" clId="Web-{38475DD0-C565-48BF-122A-1D79352A74E0}" dt="2022-12-07T00:47:28.596" v="46" actId="1076"/>
          <ac:picMkLst>
            <pc:docMk/>
            <pc:sldMk cId="3640228099" sldId="3536"/>
            <ac:picMk id="2" creationId="{B76BDCC3-1E81-D04E-F835-169A39652677}"/>
          </ac:picMkLst>
        </pc:picChg>
        <pc:picChg chg="del">
          <ac:chgData name="Vetrano, Nicole" userId="S::nvetrano@bwh.harvard.edu::251ed28a-7cb2-4cc8-a8b7-59519a3d4894" providerId="AD" clId="Web-{38475DD0-C565-48BF-122A-1D79352A74E0}" dt="2022-12-07T00:47:02.970" v="40"/>
          <ac:picMkLst>
            <pc:docMk/>
            <pc:sldMk cId="3640228099" sldId="3536"/>
            <ac:picMk id="3" creationId="{685BA4BD-0C4F-C399-4EAE-355C5B2C2605}"/>
          </ac:picMkLst>
        </pc:picChg>
      </pc:sldChg>
      <pc:sldChg chg="addSp delSp modSp">
        <pc:chgData name="Vetrano, Nicole" userId="S::nvetrano@bwh.harvard.edu::251ed28a-7cb2-4cc8-a8b7-59519a3d4894" providerId="AD" clId="Web-{38475DD0-C565-48BF-122A-1D79352A74E0}" dt="2022-12-07T01:23:14.230" v="96" actId="1076"/>
        <pc:sldMkLst>
          <pc:docMk/>
          <pc:sldMk cId="3537679081" sldId="3537"/>
        </pc:sldMkLst>
        <pc:spChg chg="del">
          <ac:chgData name="Vetrano, Nicole" userId="S::nvetrano@bwh.harvard.edu::251ed28a-7cb2-4cc8-a8b7-59519a3d4894" providerId="AD" clId="Web-{38475DD0-C565-48BF-122A-1D79352A74E0}" dt="2022-12-07T01:22:26.557" v="90"/>
          <ac:spMkLst>
            <pc:docMk/>
            <pc:sldMk cId="3537679081" sldId="3537"/>
            <ac:spMk id="6" creationId="{DA6B0CC3-D82E-4F69-86F6-045F70C8D2FB}"/>
          </ac:spMkLst>
        </pc:spChg>
        <pc:picChg chg="add mod">
          <ac:chgData name="Vetrano, Nicole" userId="S::nvetrano@bwh.harvard.edu::251ed28a-7cb2-4cc8-a8b7-59519a3d4894" providerId="AD" clId="Web-{38475DD0-C565-48BF-122A-1D79352A74E0}" dt="2022-12-07T01:23:14.230" v="96" actId="1076"/>
          <ac:picMkLst>
            <pc:docMk/>
            <pc:sldMk cId="3537679081" sldId="3537"/>
            <ac:picMk id="2" creationId="{919255FC-2CE5-6E71-EE6C-1CEEB9419D88}"/>
          </ac:picMkLst>
        </pc:picChg>
        <pc:picChg chg="del">
          <ac:chgData name="Vetrano, Nicole" userId="S::nvetrano@bwh.harvard.edu::251ed28a-7cb2-4cc8-a8b7-59519a3d4894" providerId="AD" clId="Web-{38475DD0-C565-48BF-122A-1D79352A74E0}" dt="2022-12-07T01:22:27.635" v="91"/>
          <ac:picMkLst>
            <pc:docMk/>
            <pc:sldMk cId="3537679081" sldId="3537"/>
            <ac:picMk id="3" creationId="{A76E9258-C51A-F2B9-D510-8BAE889C88FA}"/>
          </ac:picMkLst>
        </pc:picChg>
      </pc:sldChg>
      <pc:sldChg chg="addSp delSp modSp">
        <pc:chgData name="Vetrano, Nicole" userId="S::nvetrano@bwh.harvard.edu::251ed28a-7cb2-4cc8-a8b7-59519a3d4894" providerId="AD" clId="Web-{38475DD0-C565-48BF-122A-1D79352A74E0}" dt="2022-12-07T00:45:25.530" v="18" actId="1076"/>
        <pc:sldMkLst>
          <pc:docMk/>
          <pc:sldMk cId="2053167649" sldId="3539"/>
        </pc:sldMkLst>
        <pc:spChg chg="del">
          <ac:chgData name="Vetrano, Nicole" userId="S::nvetrano@bwh.harvard.edu::251ed28a-7cb2-4cc8-a8b7-59519a3d4894" providerId="AD" clId="Web-{38475DD0-C565-48BF-122A-1D79352A74E0}" dt="2022-12-07T00:44:07.122" v="10"/>
          <ac:spMkLst>
            <pc:docMk/>
            <pc:sldMk cId="2053167649" sldId="3539"/>
            <ac:spMk id="6" creationId="{8846CA2E-73AD-4B04-9942-6E69A71DEEBD}"/>
          </ac:spMkLst>
        </pc:spChg>
        <pc:picChg chg="del">
          <ac:chgData name="Vetrano, Nicole" userId="S::nvetrano@bwh.harvard.edu::251ed28a-7cb2-4cc8-a8b7-59519a3d4894" providerId="AD" clId="Web-{38475DD0-C565-48BF-122A-1D79352A74E0}" dt="2022-12-07T00:44:09.607" v="12"/>
          <ac:picMkLst>
            <pc:docMk/>
            <pc:sldMk cId="2053167649" sldId="3539"/>
            <ac:picMk id="2" creationId="{48E020D0-28A5-FBAF-2388-34C96E2D0C0A}"/>
          </ac:picMkLst>
        </pc:picChg>
        <pc:picChg chg="del">
          <ac:chgData name="Vetrano, Nicole" userId="S::nvetrano@bwh.harvard.edu::251ed28a-7cb2-4cc8-a8b7-59519a3d4894" providerId="AD" clId="Web-{38475DD0-C565-48BF-122A-1D79352A74E0}" dt="2022-12-07T00:44:08.497" v="11"/>
          <ac:picMkLst>
            <pc:docMk/>
            <pc:sldMk cId="2053167649" sldId="3539"/>
            <ac:picMk id="3" creationId="{FF2A3F74-B640-6B3F-1151-D86D56C9BD7B}"/>
          </ac:picMkLst>
        </pc:picChg>
        <pc:picChg chg="add mod">
          <ac:chgData name="Vetrano, Nicole" userId="S::nvetrano@bwh.harvard.edu::251ed28a-7cb2-4cc8-a8b7-59519a3d4894" providerId="AD" clId="Web-{38475DD0-C565-48BF-122A-1D79352A74E0}" dt="2022-12-07T00:44:40.217" v="15" actId="1076"/>
          <ac:picMkLst>
            <pc:docMk/>
            <pc:sldMk cId="2053167649" sldId="3539"/>
            <ac:picMk id="4" creationId="{A6FE55D3-75DB-9F9B-B32E-AAC97E819984}"/>
          </ac:picMkLst>
        </pc:picChg>
        <pc:picChg chg="add mod">
          <ac:chgData name="Vetrano, Nicole" userId="S::nvetrano@bwh.harvard.edu::251ed28a-7cb2-4cc8-a8b7-59519a3d4894" providerId="AD" clId="Web-{38475DD0-C565-48BF-122A-1D79352A74E0}" dt="2022-12-07T00:45:25.530" v="18" actId="1076"/>
          <ac:picMkLst>
            <pc:docMk/>
            <pc:sldMk cId="2053167649" sldId="3539"/>
            <ac:picMk id="7" creationId="{CD6F0726-BEB7-113B-AD62-4A3C4608B271}"/>
          </ac:picMkLst>
        </pc:picChg>
      </pc:sldChg>
      <pc:sldChg chg="addSp delSp modSp">
        <pc:chgData name="Vetrano, Nicole" userId="S::nvetrano@bwh.harvard.edu::251ed28a-7cb2-4cc8-a8b7-59519a3d4894" providerId="AD" clId="Web-{38475DD0-C565-48BF-122A-1D79352A74E0}" dt="2022-12-07T01:14:45.171" v="61" actId="1076"/>
        <pc:sldMkLst>
          <pc:docMk/>
          <pc:sldMk cId="3467862585" sldId="3540"/>
        </pc:sldMkLst>
        <pc:spChg chg="del">
          <ac:chgData name="Vetrano, Nicole" userId="S::nvetrano@bwh.harvard.edu::251ed28a-7cb2-4cc8-a8b7-59519a3d4894" providerId="AD" clId="Web-{38475DD0-C565-48BF-122A-1D79352A74E0}" dt="2022-12-07T00:47:34.440" v="47"/>
          <ac:spMkLst>
            <pc:docMk/>
            <pc:sldMk cId="3467862585" sldId="3540"/>
            <ac:spMk id="10" creationId="{D10EEF60-B3BE-4B6D-B65A-251526DA0BC4}"/>
          </ac:spMkLst>
        </pc:spChg>
        <pc:spChg chg="mod">
          <ac:chgData name="Vetrano, Nicole" userId="S::nvetrano@bwh.harvard.edu::251ed28a-7cb2-4cc8-a8b7-59519a3d4894" providerId="AD" clId="Web-{38475DD0-C565-48BF-122A-1D79352A74E0}" dt="2022-12-07T01:14:10.791" v="57" actId="14100"/>
          <ac:spMkLst>
            <pc:docMk/>
            <pc:sldMk cId="3467862585" sldId="3540"/>
            <ac:spMk id="12" creationId="{E931ECAC-1903-9B4A-925F-095BA5528FD2}"/>
          </ac:spMkLst>
        </pc:spChg>
        <pc:spChg chg="mod">
          <ac:chgData name="Vetrano, Nicole" userId="S::nvetrano@bwh.harvard.edu::251ed28a-7cb2-4cc8-a8b7-59519a3d4894" providerId="AD" clId="Web-{38475DD0-C565-48BF-122A-1D79352A74E0}" dt="2022-12-07T01:14:14.572" v="58" actId="1076"/>
          <ac:spMkLst>
            <pc:docMk/>
            <pc:sldMk cId="3467862585" sldId="3540"/>
            <ac:spMk id="13" creationId="{2775D1DB-8625-5301-8570-3B4F1AA57106}"/>
          </ac:spMkLst>
        </pc:spChg>
        <pc:picChg chg="add mod ord">
          <ac:chgData name="Vetrano, Nicole" userId="S::nvetrano@bwh.harvard.edu::251ed28a-7cb2-4cc8-a8b7-59519a3d4894" providerId="AD" clId="Web-{38475DD0-C565-48BF-122A-1D79352A74E0}" dt="2022-12-07T01:13:47.540" v="54" actId="1076"/>
          <ac:picMkLst>
            <pc:docMk/>
            <pc:sldMk cId="3467862585" sldId="3540"/>
            <ac:picMk id="2" creationId="{40B7A345-0EF0-74C0-3E62-7AEEE141692D}"/>
          </ac:picMkLst>
        </pc:picChg>
        <pc:picChg chg="add mod">
          <ac:chgData name="Vetrano, Nicole" userId="S::nvetrano@bwh.harvard.edu::251ed28a-7cb2-4cc8-a8b7-59519a3d4894" providerId="AD" clId="Web-{38475DD0-C565-48BF-122A-1D79352A74E0}" dt="2022-12-07T01:14:45.171" v="61" actId="1076"/>
          <ac:picMkLst>
            <pc:docMk/>
            <pc:sldMk cId="3467862585" sldId="3540"/>
            <ac:picMk id="3" creationId="{1273566E-8EA6-7B5C-F562-34757901C3C9}"/>
          </ac:picMkLst>
        </pc:picChg>
        <pc:picChg chg="del">
          <ac:chgData name="Vetrano, Nicole" userId="S::nvetrano@bwh.harvard.edu::251ed28a-7cb2-4cc8-a8b7-59519a3d4894" providerId="AD" clId="Web-{38475DD0-C565-48BF-122A-1D79352A74E0}" dt="2022-12-07T00:47:38.096" v="48"/>
          <ac:picMkLst>
            <pc:docMk/>
            <pc:sldMk cId="3467862585" sldId="3540"/>
            <ac:picMk id="3" creationId="{4FA64303-A336-0B89-04BB-91E56925CBDF}"/>
          </ac:picMkLst>
        </pc:picChg>
      </pc:sldChg>
    </pc:docChg>
  </pc:docChgLst>
  <pc:docChgLst>
    <pc:chgData name="Vetrano, Nicole" userId="S::nvetrano@bwh.harvard.edu::251ed28a-7cb2-4cc8-a8b7-59519a3d4894" providerId="AD" clId="Web-{C2F53C40-DC76-91A2-F8C4-2A0C29342C7E}"/>
    <pc:docChg chg="modSld sldOrd">
      <pc:chgData name="Vetrano, Nicole" userId="S::nvetrano@bwh.harvard.edu::251ed28a-7cb2-4cc8-a8b7-59519a3d4894" providerId="AD" clId="Web-{C2F53C40-DC76-91A2-F8C4-2A0C29342C7E}" dt="2023-06-06T14:39:25.852" v="100" actId="1076"/>
      <pc:docMkLst>
        <pc:docMk/>
      </pc:docMkLst>
      <pc:sldChg chg="addSp delSp modSp">
        <pc:chgData name="Vetrano, Nicole" userId="S::nvetrano@bwh.harvard.edu::251ed28a-7cb2-4cc8-a8b7-59519a3d4894" providerId="AD" clId="Web-{C2F53C40-DC76-91A2-F8C4-2A0C29342C7E}" dt="2023-06-06T14:23:16.298" v="27" actId="14100"/>
        <pc:sldMkLst>
          <pc:docMk/>
          <pc:sldMk cId="2663093350" sldId="3369"/>
        </pc:sldMkLst>
        <pc:spChg chg="del">
          <ac:chgData name="Vetrano, Nicole" userId="S::nvetrano@bwh.harvard.edu::251ed28a-7cb2-4cc8-a8b7-59519a3d4894" providerId="AD" clId="Web-{C2F53C40-DC76-91A2-F8C4-2A0C29342C7E}" dt="2023-06-06T14:21:46.906" v="7"/>
          <ac:spMkLst>
            <pc:docMk/>
            <pc:sldMk cId="2663093350" sldId="3369"/>
            <ac:spMk id="2" creationId="{913137C9-7842-BBCE-E033-D839A9C0E208}"/>
          </ac:spMkLst>
        </pc:spChg>
        <pc:picChg chg="add mod">
          <ac:chgData name="Vetrano, Nicole" userId="S::nvetrano@bwh.harvard.edu::251ed28a-7cb2-4cc8-a8b7-59519a3d4894" providerId="AD" clId="Web-{C2F53C40-DC76-91A2-F8C4-2A0C29342C7E}" dt="2023-06-06T14:22:12.375" v="13" actId="14100"/>
          <ac:picMkLst>
            <pc:docMk/>
            <pc:sldMk cId="2663093350" sldId="3369"/>
            <ac:picMk id="3" creationId="{7B4A407B-63D6-22D0-38DA-4B6E155DF040}"/>
          </ac:picMkLst>
        </pc:picChg>
        <pc:picChg chg="del">
          <ac:chgData name="Vetrano, Nicole" userId="S::nvetrano@bwh.harvard.edu::251ed28a-7cb2-4cc8-a8b7-59519a3d4894" providerId="AD" clId="Web-{C2F53C40-DC76-91A2-F8C4-2A0C29342C7E}" dt="2023-06-06T14:21:56.672" v="9"/>
          <ac:picMkLst>
            <pc:docMk/>
            <pc:sldMk cId="2663093350" sldId="3369"/>
            <ac:picMk id="5" creationId="{061CCCF5-FB97-B4FC-8E64-7EC88624911E}"/>
          </ac:picMkLst>
        </pc:picChg>
        <pc:picChg chg="del">
          <ac:chgData name="Vetrano, Nicole" userId="S::nvetrano@bwh.harvard.edu::251ed28a-7cb2-4cc8-a8b7-59519a3d4894" providerId="AD" clId="Web-{C2F53C40-DC76-91A2-F8C4-2A0C29342C7E}" dt="2023-06-06T14:21:48.890" v="8"/>
          <ac:picMkLst>
            <pc:docMk/>
            <pc:sldMk cId="2663093350" sldId="3369"/>
            <ac:picMk id="6" creationId="{B38429F6-FF5D-0C0F-1B11-D821F18D1260}"/>
          </ac:picMkLst>
        </pc:picChg>
        <pc:picChg chg="add mod">
          <ac:chgData name="Vetrano, Nicole" userId="S::nvetrano@bwh.harvard.edu::251ed28a-7cb2-4cc8-a8b7-59519a3d4894" providerId="AD" clId="Web-{C2F53C40-DC76-91A2-F8C4-2A0C29342C7E}" dt="2023-06-06T14:22:26.844" v="17" actId="1076"/>
          <ac:picMkLst>
            <pc:docMk/>
            <pc:sldMk cId="2663093350" sldId="3369"/>
            <ac:picMk id="7" creationId="{1848FF77-4763-AAC9-A9DF-6B84289DBDD3}"/>
          </ac:picMkLst>
        </pc:picChg>
        <pc:picChg chg="add mod">
          <ac:chgData name="Vetrano, Nicole" userId="S::nvetrano@bwh.harvard.edu::251ed28a-7cb2-4cc8-a8b7-59519a3d4894" providerId="AD" clId="Web-{C2F53C40-DC76-91A2-F8C4-2A0C29342C7E}" dt="2023-06-06T14:22:53.360" v="22" actId="1076"/>
          <ac:picMkLst>
            <pc:docMk/>
            <pc:sldMk cId="2663093350" sldId="3369"/>
            <ac:picMk id="8" creationId="{D67A67E1-6006-27BE-2C36-031A274B7026}"/>
          </ac:picMkLst>
        </pc:picChg>
        <pc:picChg chg="add mod">
          <ac:chgData name="Vetrano, Nicole" userId="S::nvetrano@bwh.harvard.edu::251ed28a-7cb2-4cc8-a8b7-59519a3d4894" providerId="AD" clId="Web-{C2F53C40-DC76-91A2-F8C4-2A0C29342C7E}" dt="2023-06-06T14:23:16.298" v="27" actId="14100"/>
          <ac:picMkLst>
            <pc:docMk/>
            <pc:sldMk cId="2663093350" sldId="3369"/>
            <ac:picMk id="9" creationId="{F886E7FA-09BB-1EF1-AF96-A3FB66BF5CC3}"/>
          </ac:picMkLst>
        </pc:picChg>
      </pc:sldChg>
      <pc:sldChg chg="addSp delSp modSp">
        <pc:chgData name="Vetrano, Nicole" userId="S::nvetrano@bwh.harvard.edu::251ed28a-7cb2-4cc8-a8b7-59519a3d4894" providerId="AD" clId="Web-{C2F53C40-DC76-91A2-F8C4-2A0C29342C7E}" dt="2023-06-06T14:21:43.546" v="6" actId="1076"/>
        <pc:sldMkLst>
          <pc:docMk/>
          <pc:sldMk cId="427793889" sldId="3388"/>
        </pc:sldMkLst>
        <pc:spChg chg="del">
          <ac:chgData name="Vetrano, Nicole" userId="S::nvetrano@bwh.harvard.edu::251ed28a-7cb2-4cc8-a8b7-59519a3d4894" providerId="AD" clId="Web-{C2F53C40-DC76-91A2-F8C4-2A0C29342C7E}" dt="2023-06-06T14:20:32.232" v="0"/>
          <ac:spMkLst>
            <pc:docMk/>
            <pc:sldMk cId="427793889" sldId="3388"/>
            <ac:spMk id="4" creationId="{1C024F17-D726-48BB-3238-7EF79891A15B}"/>
          </ac:spMkLst>
        </pc:spChg>
        <pc:picChg chg="add mod">
          <ac:chgData name="Vetrano, Nicole" userId="S::nvetrano@bwh.harvard.edu::251ed28a-7cb2-4cc8-a8b7-59519a3d4894" providerId="AD" clId="Web-{C2F53C40-DC76-91A2-F8C4-2A0C29342C7E}" dt="2023-06-06T14:21:43.546" v="6" actId="1076"/>
          <ac:picMkLst>
            <pc:docMk/>
            <pc:sldMk cId="427793889" sldId="3388"/>
            <ac:picMk id="5" creationId="{3F7DC91E-0FD7-201B-4872-C7C58D15FF5C}"/>
          </ac:picMkLst>
        </pc:picChg>
        <pc:picChg chg="del">
          <ac:chgData name="Vetrano, Nicole" userId="S::nvetrano@bwh.harvard.edu::251ed28a-7cb2-4cc8-a8b7-59519a3d4894" providerId="AD" clId="Web-{C2F53C40-DC76-91A2-F8C4-2A0C29342C7E}" dt="2023-06-06T14:20:33.967" v="1"/>
          <ac:picMkLst>
            <pc:docMk/>
            <pc:sldMk cId="427793889" sldId="3388"/>
            <ac:picMk id="6" creationId="{B0C5AD4B-A68B-4BE7-805F-8F0B21D8775F}"/>
          </ac:picMkLst>
        </pc:picChg>
      </pc:sldChg>
      <pc:sldChg chg="addSp delSp modSp">
        <pc:chgData name="Vetrano, Nicole" userId="S::nvetrano@bwh.harvard.edu::251ed28a-7cb2-4cc8-a8b7-59519a3d4894" providerId="AD" clId="Web-{C2F53C40-DC76-91A2-F8C4-2A0C29342C7E}" dt="2023-06-06T14:25:05.473" v="52" actId="1076"/>
        <pc:sldMkLst>
          <pc:docMk/>
          <pc:sldMk cId="240661228" sldId="3423"/>
        </pc:sldMkLst>
        <pc:spChg chg="del">
          <ac:chgData name="Vetrano, Nicole" userId="S::nvetrano@bwh.harvard.edu::251ed28a-7cb2-4cc8-a8b7-59519a3d4894" providerId="AD" clId="Web-{C2F53C40-DC76-91A2-F8C4-2A0C29342C7E}" dt="2023-06-06T14:24:46.754" v="48"/>
          <ac:spMkLst>
            <pc:docMk/>
            <pc:sldMk cId="240661228" sldId="3423"/>
            <ac:spMk id="2" creationId="{26BFADAD-1FD7-16F1-32A9-766C519D3C85}"/>
          </ac:spMkLst>
        </pc:spChg>
        <pc:picChg chg="del">
          <ac:chgData name="Vetrano, Nicole" userId="S::nvetrano@bwh.harvard.edu::251ed28a-7cb2-4cc8-a8b7-59519a3d4894" providerId="AD" clId="Web-{C2F53C40-DC76-91A2-F8C4-2A0C29342C7E}" dt="2023-06-06T14:24:47.504" v="49"/>
          <ac:picMkLst>
            <pc:docMk/>
            <pc:sldMk cId="240661228" sldId="3423"/>
            <ac:picMk id="3" creationId="{3DDCCE0B-0E40-97D2-B921-7E4C289B30D3}"/>
          </ac:picMkLst>
        </pc:picChg>
        <pc:picChg chg="add mod">
          <ac:chgData name="Vetrano, Nicole" userId="S::nvetrano@bwh.harvard.edu::251ed28a-7cb2-4cc8-a8b7-59519a3d4894" providerId="AD" clId="Web-{C2F53C40-DC76-91A2-F8C4-2A0C29342C7E}" dt="2023-06-06T14:25:05.473" v="52" actId="1076"/>
          <ac:picMkLst>
            <pc:docMk/>
            <pc:sldMk cId="240661228" sldId="3423"/>
            <ac:picMk id="4" creationId="{F6CC7485-78DE-CFCD-8B47-698863082D5B}"/>
          </ac:picMkLst>
        </pc:picChg>
      </pc:sldChg>
      <pc:sldChg chg="delSp modSp">
        <pc:chgData name="Vetrano, Nicole" userId="S::nvetrano@bwh.harvard.edu::251ed28a-7cb2-4cc8-a8b7-59519a3d4894" providerId="AD" clId="Web-{C2F53C40-DC76-91A2-F8C4-2A0C29342C7E}" dt="2023-06-06T14:30:59.262" v="79" actId="20577"/>
        <pc:sldMkLst>
          <pc:docMk/>
          <pc:sldMk cId="2157829121" sldId="3500"/>
        </pc:sldMkLst>
        <pc:spChg chg="del">
          <ac:chgData name="Vetrano, Nicole" userId="S::nvetrano@bwh.harvard.edu::251ed28a-7cb2-4cc8-a8b7-59519a3d4894" providerId="AD" clId="Web-{C2F53C40-DC76-91A2-F8C4-2A0C29342C7E}" dt="2023-06-06T14:25:58.724" v="63"/>
          <ac:spMkLst>
            <pc:docMk/>
            <pc:sldMk cId="2157829121" sldId="3500"/>
            <ac:spMk id="2" creationId="{A8613387-5A36-DCB8-7487-90D1DF3052DB}"/>
          </ac:spMkLst>
        </pc:spChg>
        <pc:spChg chg="mod">
          <ac:chgData name="Vetrano, Nicole" userId="S::nvetrano@bwh.harvard.edu::251ed28a-7cb2-4cc8-a8b7-59519a3d4894" providerId="AD" clId="Web-{C2F53C40-DC76-91A2-F8C4-2A0C29342C7E}" dt="2023-06-06T14:30:59.262" v="79" actId="20577"/>
          <ac:spMkLst>
            <pc:docMk/>
            <pc:sldMk cId="2157829121" sldId="3500"/>
            <ac:spMk id="3" creationId="{DC1FB5CC-EE33-4D67-A5D0-01136FFFBE11}"/>
          </ac:spMkLst>
        </pc:spChg>
      </pc:sldChg>
      <pc:sldChg chg="addSp delSp modSp">
        <pc:chgData name="Vetrano, Nicole" userId="S::nvetrano@bwh.harvard.edu::251ed28a-7cb2-4cc8-a8b7-59519a3d4894" providerId="AD" clId="Web-{C2F53C40-DC76-91A2-F8C4-2A0C29342C7E}" dt="2023-06-06T14:25:54.505" v="62" actId="1076"/>
        <pc:sldMkLst>
          <pc:docMk/>
          <pc:sldMk cId="3640228099" sldId="3536"/>
        </pc:sldMkLst>
        <pc:spChg chg="del">
          <ac:chgData name="Vetrano, Nicole" userId="S::nvetrano@bwh.harvard.edu::251ed28a-7cb2-4cc8-a8b7-59519a3d4894" providerId="AD" clId="Web-{C2F53C40-DC76-91A2-F8C4-2A0C29342C7E}" dt="2023-06-06T14:25:20.145" v="53"/>
          <ac:spMkLst>
            <pc:docMk/>
            <pc:sldMk cId="3640228099" sldId="3536"/>
            <ac:spMk id="2" creationId="{1C7BBD79-8A9D-4A77-4536-1B30D2E68492}"/>
          </ac:spMkLst>
        </pc:spChg>
        <pc:picChg chg="add mod">
          <ac:chgData name="Vetrano, Nicole" userId="S::nvetrano@bwh.harvard.edu::251ed28a-7cb2-4cc8-a8b7-59519a3d4894" providerId="AD" clId="Web-{C2F53C40-DC76-91A2-F8C4-2A0C29342C7E}" dt="2023-06-06T14:25:40.552" v="58" actId="14100"/>
          <ac:picMkLst>
            <pc:docMk/>
            <pc:sldMk cId="3640228099" sldId="3536"/>
            <ac:picMk id="3" creationId="{CEE3D6F6-B4BA-797D-5072-35F51E5E695E}"/>
          </ac:picMkLst>
        </pc:picChg>
        <pc:picChg chg="del">
          <ac:chgData name="Vetrano, Nicole" userId="S::nvetrano@bwh.harvard.edu::251ed28a-7cb2-4cc8-a8b7-59519a3d4894" providerId="AD" clId="Web-{C2F53C40-DC76-91A2-F8C4-2A0C29342C7E}" dt="2023-06-06T14:25:21.129" v="54"/>
          <ac:picMkLst>
            <pc:docMk/>
            <pc:sldMk cId="3640228099" sldId="3536"/>
            <ac:picMk id="5" creationId="{8E790C61-A3B4-1C0E-C489-E2839FAC1D66}"/>
          </ac:picMkLst>
        </pc:picChg>
        <pc:picChg chg="add mod">
          <ac:chgData name="Vetrano, Nicole" userId="S::nvetrano@bwh.harvard.edu::251ed28a-7cb2-4cc8-a8b7-59519a3d4894" providerId="AD" clId="Web-{C2F53C40-DC76-91A2-F8C4-2A0C29342C7E}" dt="2023-06-06T14:25:54.505" v="62" actId="1076"/>
          <ac:picMkLst>
            <pc:docMk/>
            <pc:sldMk cId="3640228099" sldId="3536"/>
            <ac:picMk id="6" creationId="{C5DBB77E-F102-E486-1E9C-B33F5220C8B8}"/>
          </ac:picMkLst>
        </pc:picChg>
      </pc:sldChg>
      <pc:sldChg chg="addSp delSp modSp">
        <pc:chgData name="Vetrano, Nicole" userId="S::nvetrano@bwh.harvard.edu::251ed28a-7cb2-4cc8-a8b7-59519a3d4894" providerId="AD" clId="Web-{C2F53C40-DC76-91A2-F8C4-2A0C29342C7E}" dt="2023-06-06T14:36:28.989" v="91" actId="1076"/>
        <pc:sldMkLst>
          <pc:docMk/>
          <pc:sldMk cId="3537679081" sldId="3537"/>
        </pc:sldMkLst>
        <pc:spChg chg="del">
          <ac:chgData name="Vetrano, Nicole" userId="S::nvetrano@bwh.harvard.edu::251ed28a-7cb2-4cc8-a8b7-59519a3d4894" providerId="AD" clId="Web-{C2F53C40-DC76-91A2-F8C4-2A0C29342C7E}" dt="2023-06-06T14:32:05.936" v="81"/>
          <ac:spMkLst>
            <pc:docMk/>
            <pc:sldMk cId="3537679081" sldId="3537"/>
            <ac:spMk id="2" creationId="{1F18E5DA-09AC-601A-AA40-4D8C02F51486}"/>
          </ac:spMkLst>
        </pc:spChg>
        <pc:picChg chg="del">
          <ac:chgData name="Vetrano, Nicole" userId="S::nvetrano@bwh.harvard.edu::251ed28a-7cb2-4cc8-a8b7-59519a3d4894" providerId="AD" clId="Web-{C2F53C40-DC76-91A2-F8C4-2A0C29342C7E}" dt="2023-06-06T14:32:07.029" v="82"/>
          <ac:picMkLst>
            <pc:docMk/>
            <pc:sldMk cId="3537679081" sldId="3537"/>
            <ac:picMk id="3" creationId="{2ED052AC-550F-501F-5574-7BCEB3148DED}"/>
          </ac:picMkLst>
        </pc:picChg>
        <pc:picChg chg="add del mod">
          <ac:chgData name="Vetrano, Nicole" userId="S::nvetrano@bwh.harvard.edu::251ed28a-7cb2-4cc8-a8b7-59519a3d4894" providerId="AD" clId="Web-{C2F53C40-DC76-91A2-F8C4-2A0C29342C7E}" dt="2023-06-06T14:32:42.405" v="86"/>
          <ac:picMkLst>
            <pc:docMk/>
            <pc:sldMk cId="3537679081" sldId="3537"/>
            <ac:picMk id="5" creationId="{2D56F418-A6C3-A727-3A6C-040BDEC86556}"/>
          </ac:picMkLst>
        </pc:picChg>
        <pc:picChg chg="add mod">
          <ac:chgData name="Vetrano, Nicole" userId="S::nvetrano@bwh.harvard.edu::251ed28a-7cb2-4cc8-a8b7-59519a3d4894" providerId="AD" clId="Web-{C2F53C40-DC76-91A2-F8C4-2A0C29342C7E}" dt="2023-06-06T14:36:28.989" v="91" actId="1076"/>
          <ac:picMkLst>
            <pc:docMk/>
            <pc:sldMk cId="3537679081" sldId="3537"/>
            <ac:picMk id="7" creationId="{F1DEFD39-B1A5-3A60-6B29-517DCB9A5C33}"/>
          </ac:picMkLst>
        </pc:picChg>
      </pc:sldChg>
      <pc:sldChg chg="addSp delSp modSp ord">
        <pc:chgData name="Vetrano, Nicole" userId="S::nvetrano@bwh.harvard.edu::251ed28a-7cb2-4cc8-a8b7-59519a3d4894" providerId="AD" clId="Web-{C2F53C40-DC76-91A2-F8C4-2A0C29342C7E}" dt="2023-06-06T14:31:45.420" v="80"/>
        <pc:sldMkLst>
          <pc:docMk/>
          <pc:sldMk cId="2053167649" sldId="3539"/>
        </pc:sldMkLst>
        <pc:spChg chg="del">
          <ac:chgData name="Vetrano, Nicole" userId="S::nvetrano@bwh.harvard.edu::251ed28a-7cb2-4cc8-a8b7-59519a3d4894" providerId="AD" clId="Web-{C2F53C40-DC76-91A2-F8C4-2A0C29342C7E}" dt="2023-06-06T14:23:20.408" v="28"/>
          <ac:spMkLst>
            <pc:docMk/>
            <pc:sldMk cId="2053167649" sldId="3539"/>
            <ac:spMk id="2" creationId="{D10BD3B3-A387-FB76-F796-FB4EBDEA7065}"/>
          </ac:spMkLst>
        </pc:spChg>
        <pc:picChg chg="del">
          <ac:chgData name="Vetrano, Nicole" userId="S::nvetrano@bwh.harvard.edu::251ed28a-7cb2-4cc8-a8b7-59519a3d4894" providerId="AD" clId="Web-{C2F53C40-DC76-91A2-F8C4-2A0C29342C7E}" dt="2023-06-06T14:23:22.517" v="30"/>
          <ac:picMkLst>
            <pc:docMk/>
            <pc:sldMk cId="2053167649" sldId="3539"/>
            <ac:picMk id="3" creationId="{27B75DCB-E02D-7842-AD49-7D2531F78669}"/>
          </ac:picMkLst>
        </pc:picChg>
        <pc:picChg chg="del">
          <ac:chgData name="Vetrano, Nicole" userId="S::nvetrano@bwh.harvard.edu::251ed28a-7cb2-4cc8-a8b7-59519a3d4894" providerId="AD" clId="Web-{C2F53C40-DC76-91A2-F8C4-2A0C29342C7E}" dt="2023-06-06T14:23:22.486" v="29"/>
          <ac:picMkLst>
            <pc:docMk/>
            <pc:sldMk cId="2053167649" sldId="3539"/>
            <ac:picMk id="4" creationId="{764F459A-61B1-5BEE-54B1-5771719B8CA4}"/>
          </ac:picMkLst>
        </pc:picChg>
        <pc:picChg chg="add mod">
          <ac:chgData name="Vetrano, Nicole" userId="S::nvetrano@bwh.harvard.edu::251ed28a-7cb2-4cc8-a8b7-59519a3d4894" providerId="AD" clId="Web-{C2F53C40-DC76-91A2-F8C4-2A0C29342C7E}" dt="2023-06-06T14:23:37.533" v="33" actId="14100"/>
          <ac:picMkLst>
            <pc:docMk/>
            <pc:sldMk cId="2053167649" sldId="3539"/>
            <ac:picMk id="6" creationId="{6C3E2F55-3899-23F4-7836-9CC7651E6CA2}"/>
          </ac:picMkLst>
        </pc:picChg>
        <pc:picChg chg="add mod">
          <ac:chgData name="Vetrano, Nicole" userId="S::nvetrano@bwh.harvard.edu::251ed28a-7cb2-4cc8-a8b7-59519a3d4894" providerId="AD" clId="Web-{C2F53C40-DC76-91A2-F8C4-2A0C29342C7E}" dt="2023-06-06T14:23:53.002" v="37" actId="1076"/>
          <ac:picMkLst>
            <pc:docMk/>
            <pc:sldMk cId="2053167649" sldId="3539"/>
            <ac:picMk id="7" creationId="{032F5C7B-6B33-3713-F10A-8D6F01E03E36}"/>
          </ac:picMkLst>
        </pc:picChg>
        <pc:picChg chg="add mod">
          <ac:chgData name="Vetrano, Nicole" userId="S::nvetrano@bwh.harvard.edu::251ed28a-7cb2-4cc8-a8b7-59519a3d4894" providerId="AD" clId="Web-{C2F53C40-DC76-91A2-F8C4-2A0C29342C7E}" dt="2023-06-06T14:24:27.175" v="43" actId="14100"/>
          <ac:picMkLst>
            <pc:docMk/>
            <pc:sldMk cId="2053167649" sldId="3539"/>
            <ac:picMk id="8" creationId="{BB9295B9-9D39-8A0B-6D48-387D80551B8C}"/>
          </ac:picMkLst>
        </pc:picChg>
        <pc:picChg chg="add mod">
          <ac:chgData name="Vetrano, Nicole" userId="S::nvetrano@bwh.harvard.edu::251ed28a-7cb2-4cc8-a8b7-59519a3d4894" providerId="AD" clId="Web-{C2F53C40-DC76-91A2-F8C4-2A0C29342C7E}" dt="2023-06-06T14:24:43.097" v="47" actId="1076"/>
          <ac:picMkLst>
            <pc:docMk/>
            <pc:sldMk cId="2053167649" sldId="3539"/>
            <ac:picMk id="9" creationId="{FF973EC8-5767-6EE9-C00F-7717A415DC4C}"/>
          </ac:picMkLst>
        </pc:picChg>
      </pc:sldChg>
      <pc:sldChg chg="addSp delSp modSp">
        <pc:chgData name="Vetrano, Nicole" userId="S::nvetrano@bwh.harvard.edu::251ed28a-7cb2-4cc8-a8b7-59519a3d4894" providerId="AD" clId="Web-{C2F53C40-DC76-91A2-F8C4-2A0C29342C7E}" dt="2023-06-06T14:39:25.852" v="100" actId="1076"/>
        <pc:sldMkLst>
          <pc:docMk/>
          <pc:sldMk cId="3467862585" sldId="3540"/>
        </pc:sldMkLst>
        <pc:spChg chg="del">
          <ac:chgData name="Vetrano, Nicole" userId="S::nvetrano@bwh.harvard.edu::251ed28a-7cb2-4cc8-a8b7-59519a3d4894" providerId="AD" clId="Web-{C2F53C40-DC76-91A2-F8C4-2A0C29342C7E}" dt="2023-06-06T14:38:35.617" v="92"/>
          <ac:spMkLst>
            <pc:docMk/>
            <pc:sldMk cId="3467862585" sldId="3540"/>
            <ac:spMk id="2" creationId="{326E5D06-DAA4-FA2E-EE06-3589CD195E19}"/>
          </ac:spMkLst>
        </pc:spChg>
        <pc:picChg chg="del">
          <ac:chgData name="Vetrano, Nicole" userId="S::nvetrano@bwh.harvard.edu::251ed28a-7cb2-4cc8-a8b7-59519a3d4894" providerId="AD" clId="Web-{C2F53C40-DC76-91A2-F8C4-2A0C29342C7E}" dt="2023-06-06T14:38:36.757" v="93"/>
          <ac:picMkLst>
            <pc:docMk/>
            <pc:sldMk cId="3467862585" sldId="3540"/>
            <ac:picMk id="3" creationId="{C525BD87-F868-1611-FE2E-367FE5DB9D40}"/>
          </ac:picMkLst>
        </pc:picChg>
        <pc:picChg chg="add del mod">
          <ac:chgData name="Vetrano, Nicole" userId="S::nvetrano@bwh.harvard.edu::251ed28a-7cb2-4cc8-a8b7-59519a3d4894" providerId="AD" clId="Web-{C2F53C40-DC76-91A2-F8C4-2A0C29342C7E}" dt="2023-06-06T14:38:56.242" v="95"/>
          <ac:picMkLst>
            <pc:docMk/>
            <pc:sldMk cId="3467862585" sldId="3540"/>
            <ac:picMk id="4" creationId="{EF127D22-5BCF-5A95-71B5-6B5981812B9F}"/>
          </ac:picMkLst>
        </pc:picChg>
        <pc:picChg chg="add mod">
          <ac:chgData name="Vetrano, Nicole" userId="S::nvetrano@bwh.harvard.edu::251ed28a-7cb2-4cc8-a8b7-59519a3d4894" providerId="AD" clId="Web-{C2F53C40-DC76-91A2-F8C4-2A0C29342C7E}" dt="2023-06-06T14:39:25.852" v="100" actId="1076"/>
          <ac:picMkLst>
            <pc:docMk/>
            <pc:sldMk cId="3467862585" sldId="3540"/>
            <ac:picMk id="6" creationId="{6C6AF320-D4FB-EE7D-368A-97BA7E0E2EFC}"/>
          </ac:picMkLst>
        </pc:picChg>
      </pc:sldChg>
    </pc:docChg>
  </pc:docChgLst>
  <pc:docChgLst>
    <pc:chgData name="Qureshi, Taj F." userId="e19f8f9a-4b04-4f30-b58a-5b568dd505d5" providerId="ADAL" clId="{179D501A-D488-43AB-8DA9-40E0DDE9273F}"/>
    <pc:docChg chg="modSld">
      <pc:chgData name="Qureshi, Taj F." userId="e19f8f9a-4b04-4f30-b58a-5b568dd505d5" providerId="ADAL" clId="{179D501A-D488-43AB-8DA9-40E0DDE9273F}" dt="2023-06-06T14:49:55.304" v="41" actId="1076"/>
      <pc:docMkLst>
        <pc:docMk/>
      </pc:docMkLst>
      <pc:sldChg chg="modSp mod">
        <pc:chgData name="Qureshi, Taj F." userId="e19f8f9a-4b04-4f30-b58a-5b568dd505d5" providerId="ADAL" clId="{179D501A-D488-43AB-8DA9-40E0DDE9273F}" dt="2023-06-06T14:47:35.312" v="27" actId="1076"/>
        <pc:sldMkLst>
          <pc:docMk/>
          <pc:sldMk cId="2663093350" sldId="3369"/>
        </pc:sldMkLst>
        <pc:spChg chg="mod">
          <ac:chgData name="Qureshi, Taj F." userId="e19f8f9a-4b04-4f30-b58a-5b568dd505d5" providerId="ADAL" clId="{179D501A-D488-43AB-8DA9-40E0DDE9273F}" dt="2023-06-06T14:47:26.192" v="25" actId="1076"/>
          <ac:spMkLst>
            <pc:docMk/>
            <pc:sldMk cId="2663093350" sldId="3369"/>
            <ac:spMk id="4" creationId="{3CFF6368-DC90-4FBD-9F18-35E51579F3F2}"/>
          </ac:spMkLst>
        </pc:spChg>
        <pc:picChg chg="mod">
          <ac:chgData name="Qureshi, Taj F." userId="e19f8f9a-4b04-4f30-b58a-5b568dd505d5" providerId="ADAL" clId="{179D501A-D488-43AB-8DA9-40E0DDE9273F}" dt="2023-06-06T14:47:26.192" v="25" actId="1076"/>
          <ac:picMkLst>
            <pc:docMk/>
            <pc:sldMk cId="2663093350" sldId="3369"/>
            <ac:picMk id="3" creationId="{7B4A407B-63D6-22D0-38DA-4B6E155DF040}"/>
          </ac:picMkLst>
        </pc:picChg>
        <pc:picChg chg="mod">
          <ac:chgData name="Qureshi, Taj F." userId="e19f8f9a-4b04-4f30-b58a-5b568dd505d5" providerId="ADAL" clId="{179D501A-D488-43AB-8DA9-40E0DDE9273F}" dt="2023-06-06T14:47:26.192" v="25" actId="1076"/>
          <ac:picMkLst>
            <pc:docMk/>
            <pc:sldMk cId="2663093350" sldId="3369"/>
            <ac:picMk id="7" creationId="{1848FF77-4763-AAC9-A9DF-6B84289DBDD3}"/>
          </ac:picMkLst>
        </pc:picChg>
        <pc:picChg chg="mod">
          <ac:chgData name="Qureshi, Taj F." userId="e19f8f9a-4b04-4f30-b58a-5b568dd505d5" providerId="ADAL" clId="{179D501A-D488-43AB-8DA9-40E0DDE9273F}" dt="2023-06-06T14:47:31.696" v="26" actId="1076"/>
          <ac:picMkLst>
            <pc:docMk/>
            <pc:sldMk cId="2663093350" sldId="3369"/>
            <ac:picMk id="8" creationId="{D67A67E1-6006-27BE-2C36-031A274B7026}"/>
          </ac:picMkLst>
        </pc:picChg>
        <pc:picChg chg="mod">
          <ac:chgData name="Qureshi, Taj F." userId="e19f8f9a-4b04-4f30-b58a-5b568dd505d5" providerId="ADAL" clId="{179D501A-D488-43AB-8DA9-40E0DDE9273F}" dt="2023-06-06T14:47:35.312" v="27" actId="1076"/>
          <ac:picMkLst>
            <pc:docMk/>
            <pc:sldMk cId="2663093350" sldId="3369"/>
            <ac:picMk id="9" creationId="{F886E7FA-09BB-1EF1-AF96-A3FB66BF5CC3}"/>
          </ac:picMkLst>
        </pc:picChg>
        <pc:picChg chg="mod">
          <ac:chgData name="Qureshi, Taj F." userId="e19f8f9a-4b04-4f30-b58a-5b568dd505d5" providerId="ADAL" clId="{179D501A-D488-43AB-8DA9-40E0DDE9273F}" dt="2023-06-06T14:47:26.192" v="25" actId="1076"/>
          <ac:picMkLst>
            <pc:docMk/>
            <pc:sldMk cId="2663093350" sldId="3369"/>
            <ac:picMk id="10" creationId="{12BCBC07-2892-4A55-989E-54731CE76E4B}"/>
          </ac:picMkLst>
        </pc:picChg>
      </pc:sldChg>
      <pc:sldChg chg="modSp mod">
        <pc:chgData name="Qureshi, Taj F." userId="e19f8f9a-4b04-4f30-b58a-5b568dd505d5" providerId="ADAL" clId="{179D501A-D488-43AB-8DA9-40E0DDE9273F}" dt="2023-06-06T14:43:52.239" v="4" actId="1076"/>
        <pc:sldMkLst>
          <pc:docMk/>
          <pc:sldMk cId="427793889" sldId="3388"/>
        </pc:sldMkLst>
        <pc:spChg chg="mod">
          <ac:chgData name="Qureshi, Taj F." userId="e19f8f9a-4b04-4f30-b58a-5b568dd505d5" providerId="ADAL" clId="{179D501A-D488-43AB-8DA9-40E0DDE9273F}" dt="2023-06-06T14:43:34.888" v="2" actId="1076"/>
          <ac:spMkLst>
            <pc:docMk/>
            <pc:sldMk cId="427793889" sldId="3388"/>
            <ac:spMk id="2" creationId="{5F58563F-1DA8-F1AD-9E58-4304B7CBC3AB}"/>
          </ac:spMkLst>
        </pc:spChg>
        <pc:picChg chg="mod">
          <ac:chgData name="Qureshi, Taj F." userId="e19f8f9a-4b04-4f30-b58a-5b568dd505d5" providerId="ADAL" clId="{179D501A-D488-43AB-8DA9-40E0DDE9273F}" dt="2023-06-06T14:43:52.239" v="4" actId="1076"/>
          <ac:picMkLst>
            <pc:docMk/>
            <pc:sldMk cId="427793889" sldId="3388"/>
            <ac:picMk id="3" creationId="{68DB6AAD-BA51-4CF7-E306-1282E4745166}"/>
          </ac:picMkLst>
        </pc:picChg>
        <pc:picChg chg="mod">
          <ac:chgData name="Qureshi, Taj F." userId="e19f8f9a-4b04-4f30-b58a-5b568dd505d5" providerId="ADAL" clId="{179D501A-D488-43AB-8DA9-40E0DDE9273F}" dt="2023-06-06T14:43:31.648" v="1" actId="1076"/>
          <ac:picMkLst>
            <pc:docMk/>
            <pc:sldMk cId="427793889" sldId="3388"/>
            <ac:picMk id="5" creationId="{3F7DC91E-0FD7-201B-4872-C7C58D15FF5C}"/>
          </ac:picMkLst>
        </pc:picChg>
      </pc:sldChg>
      <pc:sldChg chg="modSp mod">
        <pc:chgData name="Qureshi, Taj F." userId="e19f8f9a-4b04-4f30-b58a-5b568dd505d5" providerId="ADAL" clId="{179D501A-D488-43AB-8DA9-40E0DDE9273F}" dt="2023-06-06T14:47:58.664" v="32" actId="1076"/>
        <pc:sldMkLst>
          <pc:docMk/>
          <pc:sldMk cId="240661228" sldId="3423"/>
        </pc:sldMkLst>
        <pc:picChg chg="mod">
          <ac:chgData name="Qureshi, Taj F." userId="e19f8f9a-4b04-4f30-b58a-5b568dd505d5" providerId="ADAL" clId="{179D501A-D488-43AB-8DA9-40E0DDE9273F}" dt="2023-06-06T14:47:55.224" v="31" actId="1076"/>
          <ac:picMkLst>
            <pc:docMk/>
            <pc:sldMk cId="240661228" sldId="3423"/>
            <ac:picMk id="4" creationId="{F6CC7485-78DE-CFCD-8B47-698863082D5B}"/>
          </ac:picMkLst>
        </pc:picChg>
        <pc:picChg chg="mod">
          <ac:chgData name="Qureshi, Taj F." userId="e19f8f9a-4b04-4f30-b58a-5b568dd505d5" providerId="ADAL" clId="{179D501A-D488-43AB-8DA9-40E0DDE9273F}" dt="2023-06-06T14:47:58.664" v="32" actId="1076"/>
          <ac:picMkLst>
            <pc:docMk/>
            <pc:sldMk cId="240661228" sldId="3423"/>
            <ac:picMk id="6" creationId="{83C38985-DD16-CB16-3F93-A251FF063120}"/>
          </ac:picMkLst>
        </pc:picChg>
      </pc:sldChg>
      <pc:sldChg chg="modSp mod">
        <pc:chgData name="Qureshi, Taj F." userId="e19f8f9a-4b04-4f30-b58a-5b568dd505d5" providerId="ADAL" clId="{179D501A-D488-43AB-8DA9-40E0DDE9273F}" dt="2023-06-06T14:48:14.537" v="34" actId="20577"/>
        <pc:sldMkLst>
          <pc:docMk/>
          <pc:sldMk cId="2157829121" sldId="3500"/>
        </pc:sldMkLst>
        <pc:spChg chg="mod">
          <ac:chgData name="Qureshi, Taj F." userId="e19f8f9a-4b04-4f30-b58a-5b568dd505d5" providerId="ADAL" clId="{179D501A-D488-43AB-8DA9-40E0DDE9273F}" dt="2023-06-06T14:48:14.537" v="34" actId="20577"/>
          <ac:spMkLst>
            <pc:docMk/>
            <pc:sldMk cId="2157829121" sldId="3500"/>
            <ac:spMk id="3" creationId="{DC1FB5CC-EE33-4D67-A5D0-01136FFFBE11}"/>
          </ac:spMkLst>
        </pc:spChg>
      </pc:sldChg>
      <pc:sldChg chg="modSp mod">
        <pc:chgData name="Qureshi, Taj F." userId="e19f8f9a-4b04-4f30-b58a-5b568dd505d5" providerId="ADAL" clId="{179D501A-D488-43AB-8DA9-40E0DDE9273F}" dt="2023-06-06T14:49:45.280" v="40" actId="14100"/>
        <pc:sldMkLst>
          <pc:docMk/>
          <pc:sldMk cId="3537679081" sldId="3537"/>
        </pc:sldMkLst>
        <pc:spChg chg="mod">
          <ac:chgData name="Qureshi, Taj F." userId="e19f8f9a-4b04-4f30-b58a-5b568dd505d5" providerId="ADAL" clId="{179D501A-D488-43AB-8DA9-40E0DDE9273F}" dt="2023-06-06T14:49:06.200" v="35" actId="1076"/>
          <ac:spMkLst>
            <pc:docMk/>
            <pc:sldMk cId="3537679081" sldId="3537"/>
            <ac:spMk id="6" creationId="{2B62D525-5C8E-D7F8-E99C-9A4C8116A0D4}"/>
          </ac:spMkLst>
        </pc:spChg>
        <pc:picChg chg="mod">
          <ac:chgData name="Qureshi, Taj F." userId="e19f8f9a-4b04-4f30-b58a-5b568dd505d5" providerId="ADAL" clId="{179D501A-D488-43AB-8DA9-40E0DDE9273F}" dt="2023-06-06T14:49:45.280" v="40" actId="14100"/>
          <ac:picMkLst>
            <pc:docMk/>
            <pc:sldMk cId="3537679081" sldId="3537"/>
            <ac:picMk id="4" creationId="{6B102E23-0B77-410C-BB7C-2D4E7889B3C9}"/>
          </ac:picMkLst>
        </pc:picChg>
      </pc:sldChg>
      <pc:sldChg chg="modSp mod">
        <pc:chgData name="Qureshi, Taj F." userId="e19f8f9a-4b04-4f30-b58a-5b568dd505d5" providerId="ADAL" clId="{179D501A-D488-43AB-8DA9-40E0DDE9273F}" dt="2023-06-06T14:46:02.632" v="16" actId="1076"/>
        <pc:sldMkLst>
          <pc:docMk/>
          <pc:sldMk cId="2053167649" sldId="3539"/>
        </pc:sldMkLst>
        <pc:picChg chg="mod">
          <ac:chgData name="Qureshi, Taj F." userId="e19f8f9a-4b04-4f30-b58a-5b568dd505d5" providerId="ADAL" clId="{179D501A-D488-43AB-8DA9-40E0DDE9273F}" dt="2023-06-06T14:44:19.559" v="8" actId="1076"/>
          <ac:picMkLst>
            <pc:docMk/>
            <pc:sldMk cId="2053167649" sldId="3539"/>
            <ac:picMk id="5" creationId="{98944371-2B86-3166-7841-CBFB88B13E12}"/>
          </ac:picMkLst>
        </pc:picChg>
        <pc:picChg chg="mod">
          <ac:chgData name="Qureshi, Taj F." userId="e19f8f9a-4b04-4f30-b58a-5b568dd505d5" providerId="ADAL" clId="{179D501A-D488-43AB-8DA9-40E0DDE9273F}" dt="2023-06-06T14:44:19.559" v="8" actId="1076"/>
          <ac:picMkLst>
            <pc:docMk/>
            <pc:sldMk cId="2053167649" sldId="3539"/>
            <ac:picMk id="6" creationId="{6C3E2F55-3899-23F4-7836-9CC7651E6CA2}"/>
          </ac:picMkLst>
        </pc:picChg>
        <pc:picChg chg="mod">
          <ac:chgData name="Qureshi, Taj F." userId="e19f8f9a-4b04-4f30-b58a-5b568dd505d5" providerId="ADAL" clId="{179D501A-D488-43AB-8DA9-40E0DDE9273F}" dt="2023-06-06T14:44:19.559" v="8" actId="1076"/>
          <ac:picMkLst>
            <pc:docMk/>
            <pc:sldMk cId="2053167649" sldId="3539"/>
            <ac:picMk id="7" creationId="{032F5C7B-6B33-3713-F10A-8D6F01E03E36}"/>
          </ac:picMkLst>
        </pc:picChg>
        <pc:picChg chg="mod">
          <ac:chgData name="Qureshi, Taj F." userId="e19f8f9a-4b04-4f30-b58a-5b568dd505d5" providerId="ADAL" clId="{179D501A-D488-43AB-8DA9-40E0DDE9273F}" dt="2023-06-06T14:46:02.632" v="16" actId="1076"/>
          <ac:picMkLst>
            <pc:docMk/>
            <pc:sldMk cId="2053167649" sldId="3539"/>
            <ac:picMk id="8" creationId="{BB9295B9-9D39-8A0B-6D48-387D80551B8C}"/>
          </ac:picMkLst>
        </pc:picChg>
        <pc:picChg chg="mod">
          <ac:chgData name="Qureshi, Taj F." userId="e19f8f9a-4b04-4f30-b58a-5b568dd505d5" providerId="ADAL" clId="{179D501A-D488-43AB-8DA9-40E0DDE9273F}" dt="2023-06-06T14:46:02.632" v="16" actId="1076"/>
          <ac:picMkLst>
            <pc:docMk/>
            <pc:sldMk cId="2053167649" sldId="3539"/>
            <ac:picMk id="9" creationId="{FF973EC8-5767-6EE9-C00F-7717A415DC4C}"/>
          </ac:picMkLst>
        </pc:picChg>
      </pc:sldChg>
      <pc:sldChg chg="modSp mod">
        <pc:chgData name="Qureshi, Taj F." userId="e19f8f9a-4b04-4f30-b58a-5b568dd505d5" providerId="ADAL" clId="{179D501A-D488-43AB-8DA9-40E0DDE9273F}" dt="2023-06-06T14:49:55.304" v="41" actId="1076"/>
        <pc:sldMkLst>
          <pc:docMk/>
          <pc:sldMk cId="3467862585" sldId="3540"/>
        </pc:sldMkLst>
        <pc:spChg chg="mod">
          <ac:chgData name="Qureshi, Taj F." userId="e19f8f9a-4b04-4f30-b58a-5b568dd505d5" providerId="ADAL" clId="{179D501A-D488-43AB-8DA9-40E0DDE9273F}" dt="2023-06-06T14:49:55.304" v="41" actId="1076"/>
          <ac:spMkLst>
            <pc:docMk/>
            <pc:sldMk cId="3467862585" sldId="3540"/>
            <ac:spMk id="5" creationId="{4D194D00-D1E6-9962-1887-B5C3C9CCC1B3}"/>
          </ac:spMkLst>
        </pc:spChg>
        <pc:picChg chg="mod">
          <ac:chgData name="Qureshi, Taj F." userId="e19f8f9a-4b04-4f30-b58a-5b568dd505d5" providerId="ADAL" clId="{179D501A-D488-43AB-8DA9-40E0DDE9273F}" dt="2023-06-06T14:49:25.655" v="39" actId="1076"/>
          <ac:picMkLst>
            <pc:docMk/>
            <pc:sldMk cId="3467862585" sldId="3540"/>
            <ac:picMk id="11" creationId="{211ABE33-8462-D5EC-65E7-7A502E58DB15}"/>
          </ac:picMkLst>
        </pc:picChg>
      </pc:sldChg>
    </pc:docChg>
  </pc:docChgLst>
  <pc:docChgLst>
    <pc:chgData name="Vetrano, Nicole" userId="S::nvetrano@bwh.harvard.edu::251ed28a-7cb2-4cc8-a8b7-59519a3d4894" providerId="AD" clId="Web-{B99CC90D-3744-9B34-63D8-6BAD1F2A8102}"/>
    <pc:docChg chg="modSld">
      <pc:chgData name="Vetrano, Nicole" userId="S::nvetrano@bwh.harvard.edu::251ed28a-7cb2-4cc8-a8b7-59519a3d4894" providerId="AD" clId="Web-{B99CC90D-3744-9B34-63D8-6BAD1F2A8102}" dt="2023-01-09T18:02:45.304" v="61" actId="1076"/>
      <pc:docMkLst>
        <pc:docMk/>
      </pc:docMkLst>
      <pc:sldChg chg="addSp delSp modSp">
        <pc:chgData name="Vetrano, Nicole" userId="S::nvetrano@bwh.harvard.edu::251ed28a-7cb2-4cc8-a8b7-59519a3d4894" providerId="AD" clId="Web-{B99CC90D-3744-9B34-63D8-6BAD1F2A8102}" dt="2023-01-09T17:28:36.767" v="23" actId="1076"/>
        <pc:sldMkLst>
          <pc:docMk/>
          <pc:sldMk cId="2663093350" sldId="3369"/>
        </pc:sldMkLst>
        <pc:picChg chg="add mod">
          <ac:chgData name="Vetrano, Nicole" userId="S::nvetrano@bwh.harvard.edu::251ed28a-7cb2-4cc8-a8b7-59519a3d4894" providerId="AD" clId="Web-{B99CC90D-3744-9B34-63D8-6BAD1F2A8102}" dt="2023-01-09T17:28:36.767" v="23" actId="1076"/>
          <ac:picMkLst>
            <pc:docMk/>
            <pc:sldMk cId="2663093350" sldId="3369"/>
            <ac:picMk id="2" creationId="{EFEAB405-9C0D-90BC-ABD4-4E092DB4454F}"/>
          </ac:picMkLst>
        </pc:picChg>
        <pc:picChg chg="del">
          <ac:chgData name="Vetrano, Nicole" userId="S::nvetrano@bwh.harvard.edu::251ed28a-7cb2-4cc8-a8b7-59519a3d4894" providerId="AD" clId="Web-{B99CC90D-3744-9B34-63D8-6BAD1F2A8102}" dt="2023-01-09T17:25:28.042" v="13"/>
          <ac:picMkLst>
            <pc:docMk/>
            <pc:sldMk cId="2663093350" sldId="3369"/>
            <ac:picMk id="3" creationId="{D56195CE-6A15-07B9-F3C7-458A527F4AB5}"/>
          </ac:picMkLst>
        </pc:picChg>
        <pc:picChg chg="add mod">
          <ac:chgData name="Vetrano, Nicole" userId="S::nvetrano@bwh.harvard.edu::251ed28a-7cb2-4cc8-a8b7-59519a3d4894" providerId="AD" clId="Web-{B99CC90D-3744-9B34-63D8-6BAD1F2A8102}" dt="2023-01-09T17:28:30.517" v="21" actId="1076"/>
          <ac:picMkLst>
            <pc:docMk/>
            <pc:sldMk cId="2663093350" sldId="3369"/>
            <ac:picMk id="4" creationId="{6813C4EE-654A-4B2A-9584-A9ECFB501E8B}"/>
          </ac:picMkLst>
        </pc:picChg>
        <pc:picChg chg="del">
          <ac:chgData name="Vetrano, Nicole" userId="S::nvetrano@bwh.harvard.edu::251ed28a-7cb2-4cc8-a8b7-59519a3d4894" providerId="AD" clId="Web-{B99CC90D-3744-9B34-63D8-6BAD1F2A8102}" dt="2023-01-09T17:25:31.027" v="14"/>
          <ac:picMkLst>
            <pc:docMk/>
            <pc:sldMk cId="2663093350" sldId="3369"/>
            <ac:picMk id="5" creationId="{496159F3-17CE-D68A-3D82-ACEF63B2610D}"/>
          </ac:picMkLst>
        </pc:picChg>
      </pc:sldChg>
      <pc:sldChg chg="addSp delSp modSp">
        <pc:chgData name="Vetrano, Nicole" userId="S::nvetrano@bwh.harvard.edu::251ed28a-7cb2-4cc8-a8b7-59519a3d4894" providerId="AD" clId="Web-{B99CC90D-3744-9B34-63D8-6BAD1F2A8102}" dt="2023-01-09T17:31:07.053" v="33" actId="1076"/>
        <pc:sldMkLst>
          <pc:docMk/>
          <pc:sldMk cId="240661228" sldId="3423"/>
        </pc:sldMkLst>
        <pc:picChg chg="add mod">
          <ac:chgData name="Vetrano, Nicole" userId="S::nvetrano@bwh.harvard.edu::251ed28a-7cb2-4cc8-a8b7-59519a3d4894" providerId="AD" clId="Web-{B99CC90D-3744-9B34-63D8-6BAD1F2A8102}" dt="2023-01-09T17:31:07.053" v="33" actId="1076"/>
          <ac:picMkLst>
            <pc:docMk/>
            <pc:sldMk cId="240661228" sldId="3423"/>
            <ac:picMk id="2" creationId="{F5366A50-5E5C-BD8E-98CF-5EC17B75475C}"/>
          </ac:picMkLst>
        </pc:picChg>
        <pc:picChg chg="del">
          <ac:chgData name="Vetrano, Nicole" userId="S::nvetrano@bwh.harvard.edu::251ed28a-7cb2-4cc8-a8b7-59519a3d4894" providerId="AD" clId="Web-{B99CC90D-3744-9B34-63D8-6BAD1F2A8102}" dt="2023-01-09T17:29:38.097" v="28"/>
          <ac:picMkLst>
            <pc:docMk/>
            <pc:sldMk cId="240661228" sldId="3423"/>
            <ac:picMk id="3" creationId="{BD1A3261-B020-CF67-6EFA-A82E96F13A6C}"/>
          </ac:picMkLst>
        </pc:picChg>
      </pc:sldChg>
      <pc:sldChg chg="addSp delSp modSp">
        <pc:chgData name="Vetrano, Nicole" userId="S::nvetrano@bwh.harvard.edu::251ed28a-7cb2-4cc8-a8b7-59519a3d4894" providerId="AD" clId="Web-{B99CC90D-3744-9B34-63D8-6BAD1F2A8102}" dt="2023-01-09T17:31:17.835" v="39" actId="14100"/>
        <pc:sldMkLst>
          <pc:docMk/>
          <pc:sldMk cId="3640228099" sldId="3536"/>
        </pc:sldMkLst>
        <pc:picChg chg="add mod">
          <ac:chgData name="Vetrano, Nicole" userId="S::nvetrano@bwh.harvard.edu::251ed28a-7cb2-4cc8-a8b7-59519a3d4894" providerId="AD" clId="Web-{B99CC90D-3744-9B34-63D8-6BAD1F2A8102}" dt="2023-01-09T17:31:17.835" v="39" actId="14100"/>
          <ac:picMkLst>
            <pc:docMk/>
            <pc:sldMk cId="3640228099" sldId="3536"/>
            <ac:picMk id="2" creationId="{2C37B5D8-DF87-CC16-96CE-D734F818ED11}"/>
          </ac:picMkLst>
        </pc:picChg>
        <pc:picChg chg="del">
          <ac:chgData name="Vetrano, Nicole" userId="S::nvetrano@bwh.harvard.edu::251ed28a-7cb2-4cc8-a8b7-59519a3d4894" providerId="AD" clId="Web-{B99CC90D-3744-9B34-63D8-6BAD1F2A8102}" dt="2023-01-09T17:31:08.866" v="34"/>
          <ac:picMkLst>
            <pc:docMk/>
            <pc:sldMk cId="3640228099" sldId="3536"/>
            <ac:picMk id="3" creationId="{602C7F3C-0282-E77A-552E-AC2B0A7E01D9}"/>
          </ac:picMkLst>
        </pc:picChg>
      </pc:sldChg>
      <pc:sldChg chg="addSp delSp modSp">
        <pc:chgData name="Vetrano, Nicole" userId="S::nvetrano@bwh.harvard.edu::251ed28a-7cb2-4cc8-a8b7-59519a3d4894" providerId="AD" clId="Web-{B99CC90D-3744-9B34-63D8-6BAD1F2A8102}" dt="2023-01-09T17:29:32.753" v="27" actId="1076"/>
        <pc:sldMkLst>
          <pc:docMk/>
          <pc:sldMk cId="3537679081" sldId="3537"/>
        </pc:sldMkLst>
        <pc:picChg chg="add mod">
          <ac:chgData name="Vetrano, Nicole" userId="S::nvetrano@bwh.harvard.edu::251ed28a-7cb2-4cc8-a8b7-59519a3d4894" providerId="AD" clId="Web-{B99CC90D-3744-9B34-63D8-6BAD1F2A8102}" dt="2023-01-09T17:29:32.753" v="27" actId="1076"/>
          <ac:picMkLst>
            <pc:docMk/>
            <pc:sldMk cId="3537679081" sldId="3537"/>
            <ac:picMk id="2" creationId="{A7434592-A866-F887-497C-CE1EDDAB0842}"/>
          </ac:picMkLst>
        </pc:picChg>
        <pc:picChg chg="del">
          <ac:chgData name="Vetrano, Nicole" userId="S::nvetrano@bwh.harvard.edu::251ed28a-7cb2-4cc8-a8b7-59519a3d4894" providerId="AD" clId="Web-{B99CC90D-3744-9B34-63D8-6BAD1F2A8102}" dt="2023-01-09T17:28:44.580" v="24"/>
          <ac:picMkLst>
            <pc:docMk/>
            <pc:sldMk cId="3537679081" sldId="3537"/>
            <ac:picMk id="3" creationId="{C2CFEDFD-DA9F-F081-B3F2-21EB25FC56AB}"/>
          </ac:picMkLst>
        </pc:picChg>
      </pc:sldChg>
      <pc:sldChg chg="addSp delSp modSp">
        <pc:chgData name="Vetrano, Nicole" userId="S::nvetrano@bwh.harvard.edu::251ed28a-7cb2-4cc8-a8b7-59519a3d4894" providerId="AD" clId="Web-{B99CC90D-3744-9B34-63D8-6BAD1F2A8102}" dt="2023-01-09T17:25:25.074" v="12" actId="1076"/>
        <pc:sldMkLst>
          <pc:docMk/>
          <pc:sldMk cId="2053167649" sldId="3539"/>
        </pc:sldMkLst>
        <pc:picChg chg="add mod">
          <ac:chgData name="Vetrano, Nicole" userId="S::nvetrano@bwh.harvard.edu::251ed28a-7cb2-4cc8-a8b7-59519a3d4894" providerId="AD" clId="Web-{B99CC90D-3744-9B34-63D8-6BAD1F2A8102}" dt="2023-01-09T17:25:21.870" v="11" actId="1076"/>
          <ac:picMkLst>
            <pc:docMk/>
            <pc:sldMk cId="2053167649" sldId="3539"/>
            <ac:picMk id="2" creationId="{510B37C2-0A4B-02D3-B5D8-6D804ED7A6F2}"/>
          </ac:picMkLst>
        </pc:picChg>
        <pc:picChg chg="del">
          <ac:chgData name="Vetrano, Nicole" userId="S::nvetrano@bwh.harvard.edu::251ed28a-7cb2-4cc8-a8b7-59519a3d4894" providerId="AD" clId="Web-{B99CC90D-3744-9B34-63D8-6BAD1F2A8102}" dt="2023-01-09T17:22:51.803" v="1"/>
          <ac:picMkLst>
            <pc:docMk/>
            <pc:sldMk cId="2053167649" sldId="3539"/>
            <ac:picMk id="3" creationId="{D037E1B9-27FE-37A1-A353-4EF741DE8933}"/>
          </ac:picMkLst>
        </pc:picChg>
        <pc:picChg chg="add mod">
          <ac:chgData name="Vetrano, Nicole" userId="S::nvetrano@bwh.harvard.edu::251ed28a-7cb2-4cc8-a8b7-59519a3d4894" providerId="AD" clId="Web-{B99CC90D-3744-9B34-63D8-6BAD1F2A8102}" dt="2023-01-09T17:25:25.074" v="12" actId="1076"/>
          <ac:picMkLst>
            <pc:docMk/>
            <pc:sldMk cId="2053167649" sldId="3539"/>
            <ac:picMk id="4" creationId="{34BFEA1B-CEA9-E4B1-9DE7-C7C4C5E8077C}"/>
          </ac:picMkLst>
        </pc:picChg>
        <pc:picChg chg="del">
          <ac:chgData name="Vetrano, Nicole" userId="S::nvetrano@bwh.harvard.edu::251ed28a-7cb2-4cc8-a8b7-59519a3d4894" providerId="AD" clId="Web-{B99CC90D-3744-9B34-63D8-6BAD1F2A8102}" dt="2023-01-09T17:22:50.178" v="0"/>
          <ac:picMkLst>
            <pc:docMk/>
            <pc:sldMk cId="2053167649" sldId="3539"/>
            <ac:picMk id="6" creationId="{284463B8-D28E-D853-6683-95CC3A7E6660}"/>
          </ac:picMkLst>
        </pc:picChg>
      </pc:sldChg>
      <pc:sldChg chg="addSp delSp modSp">
        <pc:chgData name="Vetrano, Nicole" userId="S::nvetrano@bwh.harvard.edu::251ed28a-7cb2-4cc8-a8b7-59519a3d4894" providerId="AD" clId="Web-{B99CC90D-3744-9B34-63D8-6BAD1F2A8102}" dt="2023-01-09T17:32:34.978" v="50" actId="1076"/>
        <pc:sldMkLst>
          <pc:docMk/>
          <pc:sldMk cId="3467862585" sldId="3540"/>
        </pc:sldMkLst>
        <pc:spChg chg="mod">
          <ac:chgData name="Vetrano, Nicole" userId="S::nvetrano@bwh.harvard.edu::251ed28a-7cb2-4cc8-a8b7-59519a3d4894" providerId="AD" clId="Web-{B99CC90D-3744-9B34-63D8-6BAD1F2A8102}" dt="2023-01-09T17:32:30.493" v="49" actId="14100"/>
          <ac:spMkLst>
            <pc:docMk/>
            <pc:sldMk cId="3467862585" sldId="3540"/>
            <ac:spMk id="12" creationId="{E931ECAC-1903-9B4A-925F-095BA5528FD2}"/>
          </ac:spMkLst>
        </pc:spChg>
        <pc:spChg chg="mod">
          <ac:chgData name="Vetrano, Nicole" userId="S::nvetrano@bwh.harvard.edu::251ed28a-7cb2-4cc8-a8b7-59519a3d4894" providerId="AD" clId="Web-{B99CC90D-3744-9B34-63D8-6BAD1F2A8102}" dt="2023-01-09T17:32:34.978" v="50" actId="1076"/>
          <ac:spMkLst>
            <pc:docMk/>
            <pc:sldMk cId="3467862585" sldId="3540"/>
            <ac:spMk id="13" creationId="{2775D1DB-8625-5301-8570-3B4F1AA57106}"/>
          </ac:spMkLst>
        </pc:spChg>
        <pc:picChg chg="add mod ord">
          <ac:chgData name="Vetrano, Nicole" userId="S::nvetrano@bwh.harvard.edu::251ed28a-7cb2-4cc8-a8b7-59519a3d4894" providerId="AD" clId="Web-{B99CC90D-3744-9B34-63D8-6BAD1F2A8102}" dt="2023-01-09T17:32:19.915" v="46" actId="1076"/>
          <ac:picMkLst>
            <pc:docMk/>
            <pc:sldMk cId="3467862585" sldId="3540"/>
            <ac:picMk id="2" creationId="{BC9D297E-B7AF-9F93-7D8A-6025F300AFCB}"/>
          </ac:picMkLst>
        </pc:picChg>
        <pc:picChg chg="del">
          <ac:chgData name="Vetrano, Nicole" userId="S::nvetrano@bwh.harvard.edu::251ed28a-7cb2-4cc8-a8b7-59519a3d4894" providerId="AD" clId="Web-{B99CC90D-3744-9B34-63D8-6BAD1F2A8102}" dt="2023-01-09T17:32:02.320" v="40"/>
          <ac:picMkLst>
            <pc:docMk/>
            <pc:sldMk cId="3467862585" sldId="3540"/>
            <ac:picMk id="5" creationId="{823E11ED-4F34-5074-B36D-343B91944CE0}"/>
          </ac:picMkLst>
        </pc:picChg>
      </pc:sldChg>
      <pc:sldChg chg="addSp delSp modSp">
        <pc:chgData name="Vetrano, Nicole" userId="S::nvetrano@bwh.harvard.edu::251ed28a-7cb2-4cc8-a8b7-59519a3d4894" providerId="AD" clId="Web-{B99CC90D-3744-9B34-63D8-6BAD1F2A8102}" dt="2023-01-09T18:02:45.304" v="61" actId="1076"/>
        <pc:sldMkLst>
          <pc:docMk/>
          <pc:sldMk cId="1164912762" sldId="3541"/>
        </pc:sldMkLst>
        <pc:spChg chg="del">
          <ac:chgData name="Vetrano, Nicole" userId="S::nvetrano@bwh.harvard.edu::251ed28a-7cb2-4cc8-a8b7-59519a3d4894" providerId="AD" clId="Web-{B99CC90D-3744-9B34-63D8-6BAD1F2A8102}" dt="2023-01-09T18:01:28.595" v="51"/>
          <ac:spMkLst>
            <pc:docMk/>
            <pc:sldMk cId="1164912762" sldId="3541"/>
            <ac:spMk id="11" creationId="{51F187CA-8AC1-47F5-8AB5-16CBCBFA5B41}"/>
          </ac:spMkLst>
        </pc:spChg>
        <pc:picChg chg="add mod">
          <ac:chgData name="Vetrano, Nicole" userId="S::nvetrano@bwh.harvard.edu::251ed28a-7cb2-4cc8-a8b7-59519a3d4894" providerId="AD" clId="Web-{B99CC90D-3744-9B34-63D8-6BAD1F2A8102}" dt="2023-01-09T18:02:39.491" v="58" actId="1076"/>
          <ac:picMkLst>
            <pc:docMk/>
            <pc:sldMk cId="1164912762" sldId="3541"/>
            <ac:picMk id="2" creationId="{77FAA3BD-D18D-6901-E04E-6BC8F7B5C92A}"/>
          </ac:picMkLst>
        </pc:picChg>
        <pc:picChg chg="add mod">
          <ac:chgData name="Vetrano, Nicole" userId="S::nvetrano@bwh.harvard.edu::251ed28a-7cb2-4cc8-a8b7-59519a3d4894" providerId="AD" clId="Web-{B99CC90D-3744-9B34-63D8-6BAD1F2A8102}" dt="2023-01-09T18:02:45.304" v="61" actId="1076"/>
          <ac:picMkLst>
            <pc:docMk/>
            <pc:sldMk cId="1164912762" sldId="3541"/>
            <ac:picMk id="3" creationId="{83FD89C5-F208-B96C-C64D-B561D901207D}"/>
          </ac:picMkLst>
        </pc:picChg>
      </pc:sldChg>
    </pc:docChg>
  </pc:docChgLst>
  <pc:docChgLst>
    <pc:chgData name="Qureshi, Taj F." userId="e19f8f9a-4b04-4f30-b58a-5b568dd505d5" providerId="ADAL" clId="{B2CCFFBA-792C-4E66-81AC-CAEA0D418C22}"/>
    <pc:docChg chg="undo custSel addSld modSld sldOrd">
      <pc:chgData name="Qureshi, Taj F." userId="e19f8f9a-4b04-4f30-b58a-5b568dd505d5" providerId="ADAL" clId="{B2CCFFBA-792C-4E66-81AC-CAEA0D418C22}" dt="2022-12-14T12:39:59.647" v="1227" actId="1036"/>
      <pc:docMkLst>
        <pc:docMk/>
      </pc:docMkLst>
      <pc:sldChg chg="addSp delSp modSp mod modNotesTx">
        <pc:chgData name="Qureshi, Taj F." userId="e19f8f9a-4b04-4f30-b58a-5b568dd505d5" providerId="ADAL" clId="{B2CCFFBA-792C-4E66-81AC-CAEA0D418C22}" dt="2022-11-21T16:07:40.727" v="857" actId="478"/>
        <pc:sldMkLst>
          <pc:docMk/>
          <pc:sldMk cId="2201927228" sldId="281"/>
        </pc:sldMkLst>
        <pc:spChg chg="add del mod">
          <ac:chgData name="Qureshi, Taj F." userId="e19f8f9a-4b04-4f30-b58a-5b568dd505d5" providerId="ADAL" clId="{B2CCFFBA-792C-4E66-81AC-CAEA0D418C22}" dt="2022-11-21T16:07:40.727" v="857" actId="478"/>
          <ac:spMkLst>
            <pc:docMk/>
            <pc:sldMk cId="2201927228" sldId="281"/>
            <ac:spMk id="2" creationId="{44FFE591-0A07-45F6-A169-42FB93BE332C}"/>
          </ac:spMkLst>
        </pc:spChg>
        <pc:spChg chg="mod">
          <ac:chgData name="Qureshi, Taj F." userId="e19f8f9a-4b04-4f30-b58a-5b568dd505d5" providerId="ADAL" clId="{B2CCFFBA-792C-4E66-81AC-CAEA0D418C22}" dt="2022-11-21T15:37:13.180" v="826" actId="20577"/>
          <ac:spMkLst>
            <pc:docMk/>
            <pc:sldMk cId="2201927228" sldId="281"/>
            <ac:spMk id="4" creationId="{F3F51560-7193-4355-8C86-BE5D41C7C0F0}"/>
          </ac:spMkLst>
        </pc:spChg>
        <pc:spChg chg="mod">
          <ac:chgData name="Qureshi, Taj F." userId="e19f8f9a-4b04-4f30-b58a-5b568dd505d5" providerId="ADAL" clId="{B2CCFFBA-792C-4E66-81AC-CAEA0D418C22}" dt="2022-11-16T18:22:59.632" v="10" actId="20577"/>
          <ac:spMkLst>
            <pc:docMk/>
            <pc:sldMk cId="2201927228" sldId="281"/>
            <ac:spMk id="7" creationId="{7CC54396-97AB-409E-B850-2AE2619B0508}"/>
          </ac:spMkLst>
        </pc:spChg>
      </pc:sldChg>
      <pc:sldChg chg="addSp delSp modSp mod">
        <pc:chgData name="Qureshi, Taj F." userId="e19f8f9a-4b04-4f30-b58a-5b568dd505d5" providerId="ADAL" clId="{B2CCFFBA-792C-4E66-81AC-CAEA0D418C22}" dt="2022-12-14T11:50:27.087" v="1103" actId="20577"/>
        <pc:sldMkLst>
          <pc:docMk/>
          <pc:sldMk cId="1635790025" sldId="3340"/>
        </pc:sldMkLst>
        <pc:spChg chg="add del mod">
          <ac:chgData name="Qureshi, Taj F." userId="e19f8f9a-4b04-4f30-b58a-5b568dd505d5" providerId="ADAL" clId="{B2CCFFBA-792C-4E66-81AC-CAEA0D418C22}" dt="2022-11-16T18:28:13.823" v="412" actId="478"/>
          <ac:spMkLst>
            <pc:docMk/>
            <pc:sldMk cId="1635790025" sldId="3340"/>
            <ac:spMk id="5" creationId="{20F9E7CD-6271-410D-B8C5-5B2C86E51434}"/>
          </ac:spMkLst>
        </pc:spChg>
        <pc:spChg chg="add mod">
          <ac:chgData name="Qureshi, Taj F." userId="e19f8f9a-4b04-4f30-b58a-5b568dd505d5" providerId="ADAL" clId="{B2CCFFBA-792C-4E66-81AC-CAEA0D418C22}" dt="2022-11-16T18:26:34.678" v="238" actId="207"/>
          <ac:spMkLst>
            <pc:docMk/>
            <pc:sldMk cId="1635790025" sldId="3340"/>
            <ac:spMk id="6" creationId="{C17D7E8B-5DD8-44CF-83F5-7DEE460B51FF}"/>
          </ac:spMkLst>
        </pc:spChg>
        <pc:spChg chg="add del mod">
          <ac:chgData name="Qureshi, Taj F." userId="e19f8f9a-4b04-4f30-b58a-5b568dd505d5" providerId="ADAL" clId="{B2CCFFBA-792C-4E66-81AC-CAEA0D418C22}" dt="2022-12-08T14:23:59.570" v="1092" actId="478"/>
          <ac:spMkLst>
            <pc:docMk/>
            <pc:sldMk cId="1635790025" sldId="3340"/>
            <ac:spMk id="7" creationId="{068C6078-D048-4B45-A839-E18729B6CE59}"/>
          </ac:spMkLst>
        </pc:spChg>
        <pc:graphicFrameChg chg="mod modGraphic">
          <ac:chgData name="Qureshi, Taj F." userId="e19f8f9a-4b04-4f30-b58a-5b568dd505d5" providerId="ADAL" clId="{B2CCFFBA-792C-4E66-81AC-CAEA0D418C22}" dt="2022-12-14T11:50:27.087" v="1103" actId="20577"/>
          <ac:graphicFrameMkLst>
            <pc:docMk/>
            <pc:sldMk cId="1635790025" sldId="3340"/>
            <ac:graphicFrameMk id="4" creationId="{9206FA14-07A6-4D4F-8AD6-A1AE43D08CD3}"/>
          </ac:graphicFrameMkLst>
        </pc:graphicFrameChg>
      </pc:sldChg>
      <pc:sldChg chg="addSp modSp mod modNotesTx">
        <pc:chgData name="Qureshi, Taj F." userId="e19f8f9a-4b04-4f30-b58a-5b568dd505d5" providerId="ADAL" clId="{B2CCFFBA-792C-4E66-81AC-CAEA0D418C22}" dt="2022-12-07T15:29:30.682" v="1087" actId="1076"/>
        <pc:sldMkLst>
          <pc:docMk/>
          <pc:sldMk cId="2663093350" sldId="3369"/>
        </pc:sldMkLst>
        <pc:spChg chg="add mod">
          <ac:chgData name="Qureshi, Taj F." userId="e19f8f9a-4b04-4f30-b58a-5b568dd505d5" providerId="ADAL" clId="{B2CCFFBA-792C-4E66-81AC-CAEA0D418C22}" dt="2022-11-16T18:23:46.642" v="39"/>
          <ac:spMkLst>
            <pc:docMk/>
            <pc:sldMk cId="2663093350" sldId="3369"/>
            <ac:spMk id="7" creationId="{109BB1AE-7118-4CFD-9A8D-1F6EE7C70128}"/>
          </ac:spMkLst>
        </pc:spChg>
        <pc:picChg chg="mod">
          <ac:chgData name="Qureshi, Taj F." userId="e19f8f9a-4b04-4f30-b58a-5b568dd505d5" providerId="ADAL" clId="{B2CCFFBA-792C-4E66-81AC-CAEA0D418C22}" dt="2022-12-07T14:39:26.742" v="996" actId="1076"/>
          <ac:picMkLst>
            <pc:docMk/>
            <pc:sldMk cId="2663093350" sldId="3369"/>
            <ac:picMk id="2" creationId="{1B846EF8-D159-7641-2706-B32D86028D27}"/>
          </ac:picMkLst>
        </pc:picChg>
        <pc:picChg chg="mod">
          <ac:chgData name="Qureshi, Taj F." userId="e19f8f9a-4b04-4f30-b58a-5b568dd505d5" providerId="ADAL" clId="{B2CCFFBA-792C-4E66-81AC-CAEA0D418C22}" dt="2022-12-07T14:40:04.062" v="1004" actId="14100"/>
          <ac:picMkLst>
            <pc:docMk/>
            <pc:sldMk cId="2663093350" sldId="3369"/>
            <ac:picMk id="3" creationId="{38CDB83B-1C43-8925-7EF8-C98B0830800E}"/>
          </ac:picMkLst>
        </pc:picChg>
        <pc:picChg chg="mod">
          <ac:chgData name="Qureshi, Taj F." userId="e19f8f9a-4b04-4f30-b58a-5b568dd505d5" providerId="ADAL" clId="{B2CCFFBA-792C-4E66-81AC-CAEA0D418C22}" dt="2022-12-07T15:29:30.682" v="1087" actId="1076"/>
          <ac:picMkLst>
            <pc:docMk/>
            <pc:sldMk cId="2663093350" sldId="3369"/>
            <ac:picMk id="4" creationId="{2840AF72-8EF5-944F-6005-8B79330B96B6}"/>
          </ac:picMkLst>
        </pc:picChg>
        <pc:picChg chg="mod">
          <ac:chgData name="Qureshi, Taj F." userId="e19f8f9a-4b04-4f30-b58a-5b568dd505d5" providerId="ADAL" clId="{B2CCFFBA-792C-4E66-81AC-CAEA0D418C22}" dt="2022-12-07T14:39:44.216" v="998" actId="1076"/>
          <ac:picMkLst>
            <pc:docMk/>
            <pc:sldMk cId="2663093350" sldId="3369"/>
            <ac:picMk id="10" creationId="{12BCBC07-2892-4A55-989E-54731CE76E4B}"/>
          </ac:picMkLst>
        </pc:picChg>
      </pc:sldChg>
      <pc:sldChg chg="addSp modSp mod">
        <pc:chgData name="Qureshi, Taj F." userId="e19f8f9a-4b04-4f30-b58a-5b568dd505d5" providerId="ADAL" clId="{B2CCFFBA-792C-4E66-81AC-CAEA0D418C22}" dt="2022-12-14T12:39:59.647" v="1227" actId="1036"/>
        <pc:sldMkLst>
          <pc:docMk/>
          <pc:sldMk cId="427793889" sldId="3388"/>
        </pc:sldMkLst>
        <pc:spChg chg="add mod">
          <ac:chgData name="Qureshi, Taj F." userId="e19f8f9a-4b04-4f30-b58a-5b568dd505d5" providerId="ADAL" clId="{B2CCFFBA-792C-4E66-81AC-CAEA0D418C22}" dt="2022-11-16T18:23:43.827" v="37"/>
          <ac:spMkLst>
            <pc:docMk/>
            <pc:sldMk cId="427793889" sldId="3388"/>
            <ac:spMk id="5" creationId="{59311F34-90C4-4C31-892F-B7AEF70D74D1}"/>
          </ac:spMkLst>
        </pc:spChg>
        <pc:picChg chg="mod">
          <ac:chgData name="Qureshi, Taj F." userId="e19f8f9a-4b04-4f30-b58a-5b568dd505d5" providerId="ADAL" clId="{B2CCFFBA-792C-4E66-81AC-CAEA0D418C22}" dt="2022-12-14T12:39:43.559" v="1225" actId="1076"/>
          <ac:picMkLst>
            <pc:docMk/>
            <pc:sldMk cId="427793889" sldId="3388"/>
            <ac:picMk id="2" creationId="{FCB0FEEB-3F80-E583-E6B1-6AF90CAF4382}"/>
          </ac:picMkLst>
        </pc:picChg>
        <pc:picChg chg="add mod">
          <ac:chgData name="Qureshi, Taj F." userId="e19f8f9a-4b04-4f30-b58a-5b568dd505d5" providerId="ADAL" clId="{B2CCFFBA-792C-4E66-81AC-CAEA0D418C22}" dt="2022-12-14T12:39:59.647" v="1227" actId="1036"/>
          <ac:picMkLst>
            <pc:docMk/>
            <pc:sldMk cId="427793889" sldId="3388"/>
            <ac:picMk id="2050" creationId="{E6F52E8B-19FC-4868-9774-5FDFB0518A56}"/>
          </ac:picMkLst>
        </pc:picChg>
      </pc:sldChg>
      <pc:sldChg chg="addSp modSp mod">
        <pc:chgData name="Qureshi, Taj F." userId="e19f8f9a-4b04-4f30-b58a-5b568dd505d5" providerId="ADAL" clId="{B2CCFFBA-792C-4E66-81AC-CAEA0D418C22}" dt="2022-12-07T14:40:26.862" v="1006" actId="1076"/>
        <pc:sldMkLst>
          <pc:docMk/>
          <pc:sldMk cId="240661228" sldId="3423"/>
        </pc:sldMkLst>
        <pc:spChg chg="add mod">
          <ac:chgData name="Qureshi, Taj F." userId="e19f8f9a-4b04-4f30-b58a-5b568dd505d5" providerId="ADAL" clId="{B2CCFFBA-792C-4E66-81AC-CAEA0D418C22}" dt="2022-11-16T18:23:47.969" v="40"/>
          <ac:spMkLst>
            <pc:docMk/>
            <pc:sldMk cId="240661228" sldId="3423"/>
            <ac:spMk id="6" creationId="{F121DF79-A973-425C-894F-ABDD800A8905}"/>
          </ac:spMkLst>
        </pc:spChg>
        <pc:picChg chg="mod">
          <ac:chgData name="Qureshi, Taj F." userId="e19f8f9a-4b04-4f30-b58a-5b568dd505d5" providerId="ADAL" clId="{B2CCFFBA-792C-4E66-81AC-CAEA0D418C22}" dt="2022-12-07T14:40:17.127" v="1005" actId="1076"/>
          <ac:picMkLst>
            <pc:docMk/>
            <pc:sldMk cId="240661228" sldId="3423"/>
            <ac:picMk id="2" creationId="{5B03F5F5-A7A8-EC6B-1BAD-CC0BEDE38373}"/>
          </ac:picMkLst>
        </pc:picChg>
        <pc:picChg chg="mod">
          <ac:chgData name="Qureshi, Taj F." userId="e19f8f9a-4b04-4f30-b58a-5b568dd505d5" providerId="ADAL" clId="{B2CCFFBA-792C-4E66-81AC-CAEA0D418C22}" dt="2022-12-07T14:40:26.862" v="1006" actId="1076"/>
          <ac:picMkLst>
            <pc:docMk/>
            <pc:sldMk cId="240661228" sldId="3423"/>
            <ac:picMk id="5" creationId="{B7BCDDBF-E2EA-C96C-6454-0FDE84C0D3AE}"/>
          </ac:picMkLst>
        </pc:picChg>
      </pc:sldChg>
      <pc:sldChg chg="addSp modSp mod ord">
        <pc:chgData name="Qureshi, Taj F." userId="e19f8f9a-4b04-4f30-b58a-5b568dd505d5" providerId="ADAL" clId="{B2CCFFBA-792C-4E66-81AC-CAEA0D418C22}" dt="2022-12-07T15:02:43.428" v="1084" actId="1076"/>
        <pc:sldMkLst>
          <pc:docMk/>
          <pc:sldMk cId="2157829121" sldId="3500"/>
        </pc:sldMkLst>
        <pc:spChg chg="mod">
          <ac:chgData name="Qureshi, Taj F." userId="e19f8f9a-4b04-4f30-b58a-5b568dd505d5" providerId="ADAL" clId="{B2CCFFBA-792C-4E66-81AC-CAEA0D418C22}" dt="2022-12-07T15:02:15.492" v="1031" actId="207"/>
          <ac:spMkLst>
            <pc:docMk/>
            <pc:sldMk cId="2157829121" sldId="3500"/>
            <ac:spMk id="3" creationId="{DC1FB5CC-EE33-4D67-A5D0-01136FFFBE11}"/>
          </ac:spMkLst>
        </pc:spChg>
        <pc:spChg chg="add mod">
          <ac:chgData name="Qureshi, Taj F." userId="e19f8f9a-4b04-4f30-b58a-5b568dd505d5" providerId="ADAL" clId="{B2CCFFBA-792C-4E66-81AC-CAEA0D418C22}" dt="2022-11-21T16:09:33.271" v="930" actId="20577"/>
          <ac:spMkLst>
            <pc:docMk/>
            <pc:sldMk cId="2157829121" sldId="3500"/>
            <ac:spMk id="4" creationId="{35E5C50D-38E4-4D86-ACCA-791608BE271F}"/>
          </ac:spMkLst>
        </pc:spChg>
        <pc:spChg chg="add mod">
          <ac:chgData name="Qureshi, Taj F." userId="e19f8f9a-4b04-4f30-b58a-5b568dd505d5" providerId="ADAL" clId="{B2CCFFBA-792C-4E66-81AC-CAEA0D418C22}" dt="2022-12-07T15:02:43.428" v="1084" actId="1076"/>
          <ac:spMkLst>
            <pc:docMk/>
            <pc:sldMk cId="2157829121" sldId="3500"/>
            <ac:spMk id="4" creationId="{5991A4CB-6524-44B0-B4F9-C612BCF04D71}"/>
          </ac:spMkLst>
        </pc:spChg>
      </pc:sldChg>
      <pc:sldChg chg="addSp modSp mod">
        <pc:chgData name="Qureshi, Taj F." userId="e19f8f9a-4b04-4f30-b58a-5b568dd505d5" providerId="ADAL" clId="{B2CCFFBA-792C-4E66-81AC-CAEA0D418C22}" dt="2022-12-07T14:42:09.984" v="1019" actId="1035"/>
        <pc:sldMkLst>
          <pc:docMk/>
          <pc:sldMk cId="3640228099" sldId="3536"/>
        </pc:sldMkLst>
        <pc:spChg chg="add mod">
          <ac:chgData name="Qureshi, Taj F." userId="e19f8f9a-4b04-4f30-b58a-5b568dd505d5" providerId="ADAL" clId="{B2CCFFBA-792C-4E66-81AC-CAEA0D418C22}" dt="2022-11-16T18:23:49.522" v="41"/>
          <ac:spMkLst>
            <pc:docMk/>
            <pc:sldMk cId="3640228099" sldId="3536"/>
            <ac:spMk id="6" creationId="{F5C1A81F-C1D4-42B6-AECA-90B4B6D8AF44}"/>
          </ac:spMkLst>
        </pc:spChg>
        <pc:picChg chg="mod">
          <ac:chgData name="Qureshi, Taj F." userId="e19f8f9a-4b04-4f30-b58a-5b568dd505d5" providerId="ADAL" clId="{B2CCFFBA-792C-4E66-81AC-CAEA0D418C22}" dt="2022-12-07T14:40:48.838" v="1011" actId="1076"/>
          <ac:picMkLst>
            <pc:docMk/>
            <pc:sldMk cId="3640228099" sldId="3536"/>
            <ac:picMk id="2" creationId="{B76BDCC3-1E81-D04E-F835-169A39652677}"/>
          </ac:picMkLst>
        </pc:picChg>
        <pc:picChg chg="mod">
          <ac:chgData name="Qureshi, Taj F." userId="e19f8f9a-4b04-4f30-b58a-5b568dd505d5" providerId="ADAL" clId="{B2CCFFBA-792C-4E66-81AC-CAEA0D418C22}" dt="2022-12-07T14:40:53.989" v="1012" actId="1076"/>
          <ac:picMkLst>
            <pc:docMk/>
            <pc:sldMk cId="3640228099" sldId="3536"/>
            <ac:picMk id="4" creationId="{76DC0DEC-2A79-000C-DB69-3EE007F6BC26}"/>
          </ac:picMkLst>
        </pc:picChg>
        <pc:picChg chg="add mod">
          <ac:chgData name="Qureshi, Taj F." userId="e19f8f9a-4b04-4f30-b58a-5b568dd505d5" providerId="ADAL" clId="{B2CCFFBA-792C-4E66-81AC-CAEA0D418C22}" dt="2022-12-07T14:42:09.984" v="1019" actId="1035"/>
          <ac:picMkLst>
            <pc:docMk/>
            <pc:sldMk cId="3640228099" sldId="3536"/>
            <ac:picMk id="5" creationId="{8444857F-2E62-435A-B49C-9358FA35628B}"/>
          </ac:picMkLst>
        </pc:picChg>
      </pc:sldChg>
      <pc:sldChg chg="addSp modSp mod ord">
        <pc:chgData name="Qureshi, Taj F." userId="e19f8f9a-4b04-4f30-b58a-5b568dd505d5" providerId="ADAL" clId="{B2CCFFBA-792C-4E66-81AC-CAEA0D418C22}" dt="2022-12-07T14:42:34.866" v="1023" actId="1076"/>
        <pc:sldMkLst>
          <pc:docMk/>
          <pc:sldMk cId="3537679081" sldId="3537"/>
        </pc:sldMkLst>
        <pc:spChg chg="add mod">
          <ac:chgData name="Qureshi, Taj F." userId="e19f8f9a-4b04-4f30-b58a-5b568dd505d5" providerId="ADAL" clId="{B2CCFFBA-792C-4E66-81AC-CAEA0D418C22}" dt="2022-11-16T18:23:52.549" v="43"/>
          <ac:spMkLst>
            <pc:docMk/>
            <pc:sldMk cId="3537679081" sldId="3537"/>
            <ac:spMk id="6" creationId="{DA6B0CC3-D82E-4F69-86F6-045F70C8D2FB}"/>
          </ac:spMkLst>
        </pc:spChg>
        <pc:picChg chg="mod">
          <ac:chgData name="Qureshi, Taj F." userId="e19f8f9a-4b04-4f30-b58a-5b568dd505d5" providerId="ADAL" clId="{B2CCFFBA-792C-4E66-81AC-CAEA0D418C22}" dt="2022-12-07T14:42:26.496" v="1020" actId="1076"/>
          <ac:picMkLst>
            <pc:docMk/>
            <pc:sldMk cId="3537679081" sldId="3537"/>
            <ac:picMk id="2" creationId="{919255FC-2CE5-6E71-EE6C-1CEEB9419D88}"/>
          </ac:picMkLst>
        </pc:picChg>
        <pc:picChg chg="mod">
          <ac:chgData name="Qureshi, Taj F." userId="e19f8f9a-4b04-4f30-b58a-5b568dd505d5" providerId="ADAL" clId="{B2CCFFBA-792C-4E66-81AC-CAEA0D418C22}" dt="2022-12-07T14:42:34.866" v="1023" actId="1076"/>
          <ac:picMkLst>
            <pc:docMk/>
            <pc:sldMk cId="3537679081" sldId="3537"/>
            <ac:picMk id="4" creationId="{6B102E23-0B77-410C-BB7C-2D4E7889B3C9}"/>
          </ac:picMkLst>
        </pc:picChg>
      </pc:sldChg>
      <pc:sldChg chg="addSp modSp mod">
        <pc:chgData name="Qureshi, Taj F." userId="e19f8f9a-4b04-4f30-b58a-5b568dd505d5" providerId="ADAL" clId="{B2CCFFBA-792C-4E66-81AC-CAEA0D418C22}" dt="2022-12-07T15:29:39.142" v="1089" actId="14100"/>
        <pc:sldMkLst>
          <pc:docMk/>
          <pc:sldMk cId="2053167649" sldId="3539"/>
        </pc:sldMkLst>
        <pc:spChg chg="add mod">
          <ac:chgData name="Qureshi, Taj F." userId="e19f8f9a-4b04-4f30-b58a-5b568dd505d5" providerId="ADAL" clId="{B2CCFFBA-792C-4E66-81AC-CAEA0D418C22}" dt="2022-11-16T18:23:45.063" v="38"/>
          <ac:spMkLst>
            <pc:docMk/>
            <pc:sldMk cId="2053167649" sldId="3539"/>
            <ac:spMk id="6" creationId="{8846CA2E-73AD-4B04-9942-6E69A71DEEBD}"/>
          </ac:spMkLst>
        </pc:spChg>
        <pc:picChg chg="mod">
          <ac:chgData name="Qureshi, Taj F." userId="e19f8f9a-4b04-4f30-b58a-5b568dd505d5" providerId="ADAL" clId="{B2CCFFBA-792C-4E66-81AC-CAEA0D418C22}" dt="2022-12-07T15:29:39.142" v="1089" actId="14100"/>
          <ac:picMkLst>
            <pc:docMk/>
            <pc:sldMk cId="2053167649" sldId="3539"/>
            <ac:picMk id="2" creationId="{B3633E5B-3D53-7512-9D53-D80D79062DDA}"/>
          </ac:picMkLst>
        </pc:picChg>
        <pc:picChg chg="mod">
          <ac:chgData name="Qureshi, Taj F." userId="e19f8f9a-4b04-4f30-b58a-5b568dd505d5" providerId="ADAL" clId="{B2CCFFBA-792C-4E66-81AC-CAEA0D418C22}" dt="2022-12-07T14:38:45.004" v="992" actId="1076"/>
          <ac:picMkLst>
            <pc:docMk/>
            <pc:sldMk cId="2053167649" sldId="3539"/>
            <ac:picMk id="4" creationId="{A6FE55D3-75DB-9F9B-B32E-AAC97E819984}"/>
          </ac:picMkLst>
        </pc:picChg>
        <pc:picChg chg="mod">
          <ac:chgData name="Qureshi, Taj F." userId="e19f8f9a-4b04-4f30-b58a-5b568dd505d5" providerId="ADAL" clId="{B2CCFFBA-792C-4E66-81AC-CAEA0D418C22}" dt="2022-12-07T14:38:52.601" v="993" actId="1076"/>
          <ac:picMkLst>
            <pc:docMk/>
            <pc:sldMk cId="2053167649" sldId="3539"/>
            <ac:picMk id="5" creationId="{98944371-2B86-3166-7841-CBFB88B13E12}"/>
          </ac:picMkLst>
        </pc:picChg>
        <pc:picChg chg="mod">
          <ac:chgData name="Qureshi, Taj F." userId="e19f8f9a-4b04-4f30-b58a-5b568dd505d5" providerId="ADAL" clId="{B2CCFFBA-792C-4E66-81AC-CAEA0D418C22}" dt="2022-12-07T14:39:09.214" v="995" actId="14100"/>
          <ac:picMkLst>
            <pc:docMk/>
            <pc:sldMk cId="2053167649" sldId="3539"/>
            <ac:picMk id="7" creationId="{CD6F0726-BEB7-113B-AD62-4A3C4608B271}"/>
          </ac:picMkLst>
        </pc:picChg>
      </pc:sldChg>
      <pc:sldChg chg="addSp modSp">
        <pc:chgData name="Qureshi, Taj F." userId="e19f8f9a-4b04-4f30-b58a-5b568dd505d5" providerId="ADAL" clId="{B2CCFFBA-792C-4E66-81AC-CAEA0D418C22}" dt="2022-11-16T18:23:54.108" v="44"/>
        <pc:sldMkLst>
          <pc:docMk/>
          <pc:sldMk cId="3467862585" sldId="3540"/>
        </pc:sldMkLst>
        <pc:spChg chg="add mod">
          <ac:chgData name="Qureshi, Taj F." userId="e19f8f9a-4b04-4f30-b58a-5b568dd505d5" providerId="ADAL" clId="{B2CCFFBA-792C-4E66-81AC-CAEA0D418C22}" dt="2022-11-16T18:23:54.108" v="44"/>
          <ac:spMkLst>
            <pc:docMk/>
            <pc:sldMk cId="3467862585" sldId="3540"/>
            <ac:spMk id="10" creationId="{D10EEF60-B3BE-4B6D-B65A-251526DA0BC4}"/>
          </ac:spMkLst>
        </pc:spChg>
      </pc:sldChg>
      <pc:sldChg chg="addSp delSp modSp new mod ord">
        <pc:chgData name="Qureshi, Taj F." userId="e19f8f9a-4b04-4f30-b58a-5b568dd505d5" providerId="ADAL" clId="{B2CCFFBA-792C-4E66-81AC-CAEA0D418C22}" dt="2022-12-14T12:35:41.060" v="1181" actId="20577"/>
        <pc:sldMkLst>
          <pc:docMk/>
          <pc:sldMk cId="120485571" sldId="3541"/>
        </pc:sldMkLst>
        <pc:spChg chg="add mod">
          <ac:chgData name="Qureshi, Taj F." userId="e19f8f9a-4b04-4f30-b58a-5b568dd505d5" providerId="ADAL" clId="{B2CCFFBA-792C-4E66-81AC-CAEA0D418C22}" dt="2022-11-16T18:28:40.934" v="431" actId="20577"/>
          <ac:spMkLst>
            <pc:docMk/>
            <pc:sldMk cId="120485571" sldId="3541"/>
            <ac:spMk id="2" creationId="{610FD752-A3C1-4064-B9B1-CBBD738CCE3B}"/>
          </ac:spMkLst>
        </pc:spChg>
        <pc:spChg chg="add mod">
          <ac:chgData name="Qureshi, Taj F." userId="e19f8f9a-4b04-4f30-b58a-5b568dd505d5" providerId="ADAL" clId="{B2CCFFBA-792C-4E66-81AC-CAEA0D418C22}" dt="2022-12-14T12:35:41.060" v="1181" actId="20577"/>
          <ac:spMkLst>
            <pc:docMk/>
            <pc:sldMk cId="120485571" sldId="3541"/>
            <ac:spMk id="3" creationId="{D61F36F4-2552-4BC8-AC3E-105160EA0A01}"/>
          </ac:spMkLst>
        </pc:spChg>
        <pc:spChg chg="add mod">
          <ac:chgData name="Qureshi, Taj F." userId="e19f8f9a-4b04-4f30-b58a-5b568dd505d5" providerId="ADAL" clId="{B2CCFFBA-792C-4E66-81AC-CAEA0D418C22}" dt="2022-12-07T14:37:50.838" v="988" actId="1076"/>
          <ac:spMkLst>
            <pc:docMk/>
            <pc:sldMk cId="120485571" sldId="3541"/>
            <ac:spMk id="4" creationId="{BA887EDC-4C85-4184-AE40-72F93C6746D7}"/>
          </ac:spMkLst>
        </pc:spChg>
        <pc:spChg chg="add del">
          <ac:chgData name="Qureshi, Taj F." userId="e19f8f9a-4b04-4f30-b58a-5b568dd505d5" providerId="ADAL" clId="{B2CCFFBA-792C-4E66-81AC-CAEA0D418C22}" dt="2022-11-16T18:37:00.018" v="618" actId="478"/>
          <ac:spMkLst>
            <pc:docMk/>
            <pc:sldMk cId="120485571" sldId="3541"/>
            <ac:spMk id="5" creationId="{9D0C4F31-5B04-43BE-85C1-3F0EE5118A1F}"/>
          </ac:spMkLst>
        </pc:spChg>
      </pc:sldChg>
      <pc:sldChg chg="addSp modSp add mod">
        <pc:chgData name="Qureshi, Taj F." userId="e19f8f9a-4b04-4f30-b58a-5b568dd505d5" providerId="ADAL" clId="{B2CCFFBA-792C-4E66-81AC-CAEA0D418C22}" dt="2022-12-14T11:54:51.087" v="1155" actId="20577"/>
        <pc:sldMkLst>
          <pc:docMk/>
          <pc:sldMk cId="2630021636" sldId="3542"/>
        </pc:sldMkLst>
        <pc:spChg chg="mod">
          <ac:chgData name="Qureshi, Taj F." userId="e19f8f9a-4b04-4f30-b58a-5b568dd505d5" providerId="ADAL" clId="{B2CCFFBA-792C-4E66-81AC-CAEA0D418C22}" dt="2022-11-21T16:08:14.229" v="877" actId="20577"/>
          <ac:spMkLst>
            <pc:docMk/>
            <pc:sldMk cId="2630021636" sldId="3542"/>
            <ac:spMk id="2" creationId="{610FD752-A3C1-4064-B9B1-CBBD738CCE3B}"/>
          </ac:spMkLst>
        </pc:spChg>
        <pc:spChg chg="mod">
          <ac:chgData name="Qureshi, Taj F." userId="e19f8f9a-4b04-4f30-b58a-5b568dd505d5" providerId="ADAL" clId="{B2CCFFBA-792C-4E66-81AC-CAEA0D418C22}" dt="2022-12-14T11:54:51.087" v="1155" actId="20577"/>
          <ac:spMkLst>
            <pc:docMk/>
            <pc:sldMk cId="2630021636" sldId="3542"/>
            <ac:spMk id="3" creationId="{D61F36F4-2552-4BC8-AC3E-105160EA0A01}"/>
          </ac:spMkLst>
        </pc:spChg>
        <pc:spChg chg="add mod">
          <ac:chgData name="Qureshi, Taj F." userId="e19f8f9a-4b04-4f30-b58a-5b568dd505d5" providerId="ADAL" clId="{B2CCFFBA-792C-4E66-81AC-CAEA0D418C22}" dt="2022-11-21T16:08:16.682" v="881" actId="20577"/>
          <ac:spMkLst>
            <pc:docMk/>
            <pc:sldMk cId="2630021636" sldId="3542"/>
            <ac:spMk id="4" creationId="{05910842-7BEC-4461-B063-E810A7FF78F4}"/>
          </ac:spMkLst>
        </pc:spChg>
      </pc:sldChg>
      <pc:sldChg chg="modSp new mod">
        <pc:chgData name="Qureshi, Taj F." userId="e19f8f9a-4b04-4f30-b58a-5b568dd505d5" providerId="ADAL" clId="{B2CCFFBA-792C-4E66-81AC-CAEA0D418C22}" dt="2022-11-16T19:07:22.025" v="678" actId="20577"/>
        <pc:sldMkLst>
          <pc:docMk/>
          <pc:sldMk cId="1284205858" sldId="3543"/>
        </pc:sldMkLst>
        <pc:spChg chg="mod">
          <ac:chgData name="Qureshi, Taj F." userId="e19f8f9a-4b04-4f30-b58a-5b568dd505d5" providerId="ADAL" clId="{B2CCFFBA-792C-4E66-81AC-CAEA0D418C22}" dt="2022-11-16T19:07:22.025" v="678" actId="20577"/>
          <ac:spMkLst>
            <pc:docMk/>
            <pc:sldMk cId="1284205858" sldId="3543"/>
            <ac:spMk id="2" creationId="{CCB1DDF0-FC96-429B-9C20-306B642CC627}"/>
          </ac:spMkLst>
        </pc:spChg>
      </pc:sldChg>
      <pc:sldChg chg="addSp modSp add mod ord modClrScheme chgLayout">
        <pc:chgData name="Qureshi, Taj F." userId="e19f8f9a-4b04-4f30-b58a-5b568dd505d5" providerId="ADAL" clId="{B2CCFFBA-792C-4E66-81AC-CAEA0D418C22}" dt="2022-12-14T11:56:26.719" v="1171" actId="1076"/>
        <pc:sldMkLst>
          <pc:docMk/>
          <pc:sldMk cId="912903528" sldId="3544"/>
        </pc:sldMkLst>
        <pc:spChg chg="mod">
          <ac:chgData name="Qureshi, Taj F." userId="e19f8f9a-4b04-4f30-b58a-5b568dd505d5" providerId="ADAL" clId="{B2CCFFBA-792C-4E66-81AC-CAEA0D418C22}" dt="2022-11-16T19:30:10.950" v="807" actId="20577"/>
          <ac:spMkLst>
            <pc:docMk/>
            <pc:sldMk cId="912903528" sldId="3544"/>
            <ac:spMk id="2" creationId="{610FD752-A3C1-4064-B9B1-CBBD738CCE3B}"/>
          </ac:spMkLst>
        </pc:spChg>
        <pc:spChg chg="mod">
          <ac:chgData name="Qureshi, Taj F." userId="e19f8f9a-4b04-4f30-b58a-5b568dd505d5" providerId="ADAL" clId="{B2CCFFBA-792C-4E66-81AC-CAEA0D418C22}" dt="2022-11-16T19:30:13.096" v="808" actId="20577"/>
          <ac:spMkLst>
            <pc:docMk/>
            <pc:sldMk cId="912903528" sldId="3544"/>
            <ac:spMk id="3" creationId="{D61F36F4-2552-4BC8-AC3E-105160EA0A01}"/>
          </ac:spMkLst>
        </pc:spChg>
        <pc:spChg chg="add mod">
          <ac:chgData name="Qureshi, Taj F." userId="e19f8f9a-4b04-4f30-b58a-5b568dd505d5" providerId="ADAL" clId="{B2CCFFBA-792C-4E66-81AC-CAEA0D418C22}" dt="2022-11-16T19:30:24.811" v="822" actId="20577"/>
          <ac:spMkLst>
            <pc:docMk/>
            <pc:sldMk cId="912903528" sldId="3544"/>
            <ac:spMk id="4" creationId="{62179D6C-65D9-4B05-857B-DCC8F59DB416}"/>
          </ac:spMkLst>
        </pc:spChg>
        <pc:spChg chg="mod ord">
          <ac:chgData name="Qureshi, Taj F." userId="e19f8f9a-4b04-4f30-b58a-5b568dd505d5" providerId="ADAL" clId="{B2CCFFBA-792C-4E66-81AC-CAEA0D418C22}" dt="2022-12-14T11:56:23.923" v="1170" actId="1076"/>
          <ac:spMkLst>
            <pc:docMk/>
            <pc:sldMk cId="912903528" sldId="3544"/>
            <ac:spMk id="8" creationId="{60FBF61E-527F-E6F6-E7E0-7446224D3177}"/>
          </ac:spMkLst>
        </pc:spChg>
        <pc:spChg chg="mod ord">
          <ac:chgData name="Qureshi, Taj F." userId="e19f8f9a-4b04-4f30-b58a-5b568dd505d5" providerId="ADAL" clId="{B2CCFFBA-792C-4E66-81AC-CAEA0D418C22}" dt="2022-12-14T11:56:26.719" v="1171" actId="1076"/>
          <ac:spMkLst>
            <pc:docMk/>
            <pc:sldMk cId="912903528" sldId="3544"/>
            <ac:spMk id="9" creationId="{CB0B646A-92EE-5FBC-F193-55784A660666}"/>
          </ac:spMkLst>
        </pc:spChg>
      </pc:sldChg>
      <pc:sldChg chg="modSp add mod">
        <pc:chgData name="Qureshi, Taj F." userId="e19f8f9a-4b04-4f30-b58a-5b568dd505d5" providerId="ADAL" clId="{B2CCFFBA-792C-4E66-81AC-CAEA0D418C22}" dt="2022-11-21T16:08:21.520" v="885" actId="20577"/>
        <pc:sldMkLst>
          <pc:docMk/>
          <pc:sldMk cId="2961781329" sldId="3545"/>
        </pc:sldMkLst>
        <pc:spChg chg="mod">
          <ac:chgData name="Qureshi, Taj F." userId="e19f8f9a-4b04-4f30-b58a-5b568dd505d5" providerId="ADAL" clId="{B2CCFFBA-792C-4E66-81AC-CAEA0D418C22}" dt="2022-11-21T16:08:21.520" v="885" actId="20577"/>
          <ac:spMkLst>
            <pc:docMk/>
            <pc:sldMk cId="2961781329" sldId="3545"/>
            <ac:spMk id="4" creationId="{05910842-7BEC-4461-B063-E810A7FF78F4}"/>
          </ac:spMkLst>
        </pc:spChg>
      </pc:sldChg>
      <pc:sldChg chg="modSp mod">
        <pc:chgData name="Qureshi, Taj F." userId="e19f8f9a-4b04-4f30-b58a-5b568dd505d5" providerId="ADAL" clId="{B2CCFFBA-792C-4E66-81AC-CAEA0D418C22}" dt="2022-12-14T11:52:52.146" v="1121" actId="20577"/>
        <pc:sldMkLst>
          <pc:docMk/>
          <pc:sldMk cId="1566641004" sldId="2145705166"/>
        </pc:sldMkLst>
        <pc:spChg chg="mod">
          <ac:chgData name="Qureshi, Taj F." userId="e19f8f9a-4b04-4f30-b58a-5b568dd505d5" providerId="ADAL" clId="{B2CCFFBA-792C-4E66-81AC-CAEA0D418C22}" dt="2022-12-14T11:52:52.146" v="1121" actId="20577"/>
          <ac:spMkLst>
            <pc:docMk/>
            <pc:sldMk cId="1566641004" sldId="2145705166"/>
            <ac:spMk id="4" creationId="{BA62666C-76FB-4202-9E29-AEB09755B0DD}"/>
          </ac:spMkLst>
        </pc:spChg>
        <pc:spChg chg="mod">
          <ac:chgData name="Qureshi, Taj F." userId="e19f8f9a-4b04-4f30-b58a-5b568dd505d5" providerId="ADAL" clId="{B2CCFFBA-792C-4E66-81AC-CAEA0D418C22}" dt="2022-12-14T11:52:43.663" v="1115" actId="20577"/>
          <ac:spMkLst>
            <pc:docMk/>
            <pc:sldMk cId="1566641004" sldId="2145705166"/>
            <ac:spMk id="8" creationId="{47C4606D-B8A4-425A-A1E7-E12FBA7A3BCA}"/>
          </ac:spMkLst>
        </pc:spChg>
      </pc:sldChg>
      <pc:sldChg chg="modSp mod">
        <pc:chgData name="Qureshi, Taj F." userId="e19f8f9a-4b04-4f30-b58a-5b568dd505d5" providerId="ADAL" clId="{B2CCFFBA-792C-4E66-81AC-CAEA0D418C22}" dt="2022-12-14T11:50:43.736" v="1109" actId="20577"/>
        <pc:sldMkLst>
          <pc:docMk/>
          <pc:sldMk cId="1008298659" sldId="2145705198"/>
        </pc:sldMkLst>
        <pc:spChg chg="mod">
          <ac:chgData name="Qureshi, Taj F." userId="e19f8f9a-4b04-4f30-b58a-5b568dd505d5" providerId="ADAL" clId="{B2CCFFBA-792C-4E66-81AC-CAEA0D418C22}" dt="2022-12-14T11:50:43.736" v="1109" actId="20577"/>
          <ac:spMkLst>
            <pc:docMk/>
            <pc:sldMk cId="1008298659" sldId="2145705198"/>
            <ac:spMk id="2" creationId="{F9E07ACA-2762-4981-AA4E-72BECEFAAF04}"/>
          </ac:spMkLst>
        </pc:spChg>
      </pc:sldChg>
      <pc:sldChg chg="modSp mod">
        <pc:chgData name="Qureshi, Taj F." userId="e19f8f9a-4b04-4f30-b58a-5b568dd505d5" providerId="ADAL" clId="{B2CCFFBA-792C-4E66-81AC-CAEA0D418C22}" dt="2022-12-14T11:53:25.943" v="1125" actId="20577"/>
        <pc:sldMkLst>
          <pc:docMk/>
          <pc:sldMk cId="1229717690" sldId="2145705206"/>
        </pc:sldMkLst>
        <pc:spChg chg="mod">
          <ac:chgData name="Qureshi, Taj F." userId="e19f8f9a-4b04-4f30-b58a-5b568dd505d5" providerId="ADAL" clId="{B2CCFFBA-792C-4E66-81AC-CAEA0D418C22}" dt="2022-12-14T11:53:25.943" v="1125" actId="20577"/>
          <ac:spMkLst>
            <pc:docMk/>
            <pc:sldMk cId="1229717690" sldId="2145705206"/>
            <ac:spMk id="3" creationId="{A08A0CEB-7FE6-49DD-A72A-6C515587CBC2}"/>
          </ac:spMkLst>
        </pc:spChg>
      </pc:sldChg>
    </pc:docChg>
  </pc:docChgLst>
  <pc:docChgLst>
    <pc:chgData name="Qureshi, Taj F." userId="e19f8f9a-4b04-4f30-b58a-5b568dd505d5" providerId="ADAL" clId="{2464CE5F-C02E-4984-9CCE-4B21A79513B4}"/>
    <pc:docChg chg="custSel addSld delSld modSld sldOrd">
      <pc:chgData name="Qureshi, Taj F." userId="e19f8f9a-4b04-4f30-b58a-5b568dd505d5" providerId="ADAL" clId="{2464CE5F-C02E-4984-9CCE-4B21A79513B4}" dt="2023-01-11T16:48:49.660" v="382" actId="20577"/>
      <pc:docMkLst>
        <pc:docMk/>
      </pc:docMkLst>
      <pc:sldChg chg="modSp mod">
        <pc:chgData name="Qureshi, Taj F." userId="e19f8f9a-4b04-4f30-b58a-5b568dd505d5" providerId="ADAL" clId="{2464CE5F-C02E-4984-9CCE-4B21A79513B4}" dt="2022-12-21T16:11:59.502" v="19" actId="20577"/>
        <pc:sldMkLst>
          <pc:docMk/>
          <pc:sldMk cId="2201927228" sldId="281"/>
        </pc:sldMkLst>
        <pc:spChg chg="mod">
          <ac:chgData name="Qureshi, Taj F." userId="e19f8f9a-4b04-4f30-b58a-5b568dd505d5" providerId="ADAL" clId="{2464CE5F-C02E-4984-9CCE-4B21A79513B4}" dt="2022-12-21T16:11:59.502" v="19" actId="20577"/>
          <ac:spMkLst>
            <pc:docMk/>
            <pc:sldMk cId="2201927228" sldId="281"/>
            <ac:spMk id="7" creationId="{7CC54396-97AB-409E-B850-2AE2619B0508}"/>
          </ac:spMkLst>
        </pc:spChg>
      </pc:sldChg>
      <pc:sldChg chg="modSp add del mod">
        <pc:chgData name="Qureshi, Taj F." userId="e19f8f9a-4b04-4f30-b58a-5b568dd505d5" providerId="ADAL" clId="{2464CE5F-C02E-4984-9CCE-4B21A79513B4}" dt="2023-01-11T16:48:49.660" v="382" actId="20577"/>
        <pc:sldMkLst>
          <pc:docMk/>
          <pc:sldMk cId="1635790025" sldId="3340"/>
        </pc:sldMkLst>
        <pc:graphicFrameChg chg="modGraphic">
          <ac:chgData name="Qureshi, Taj F." userId="e19f8f9a-4b04-4f30-b58a-5b568dd505d5" providerId="ADAL" clId="{2464CE5F-C02E-4984-9CCE-4B21A79513B4}" dt="2023-01-11T16:48:49.660" v="382" actId="20577"/>
          <ac:graphicFrameMkLst>
            <pc:docMk/>
            <pc:sldMk cId="1635790025" sldId="3340"/>
            <ac:graphicFrameMk id="4" creationId="{9206FA14-07A6-4D4F-8AD6-A1AE43D08CD3}"/>
          </ac:graphicFrameMkLst>
        </pc:graphicFrameChg>
      </pc:sldChg>
      <pc:sldChg chg="del">
        <pc:chgData name="Qureshi, Taj F." userId="e19f8f9a-4b04-4f30-b58a-5b568dd505d5" providerId="ADAL" clId="{2464CE5F-C02E-4984-9CCE-4B21A79513B4}" dt="2022-12-21T16:13:05.144" v="33" actId="47"/>
        <pc:sldMkLst>
          <pc:docMk/>
          <pc:sldMk cId="819756584" sldId="3361"/>
        </pc:sldMkLst>
      </pc:sldChg>
      <pc:sldChg chg="addSp delSp modSp mod">
        <pc:chgData name="Qureshi, Taj F." userId="e19f8f9a-4b04-4f30-b58a-5b568dd505d5" providerId="ADAL" clId="{2464CE5F-C02E-4984-9CCE-4B21A79513B4}" dt="2022-12-21T16:22:31.931" v="109"/>
        <pc:sldMkLst>
          <pc:docMk/>
          <pc:sldMk cId="2663093350" sldId="3369"/>
        </pc:sldMkLst>
        <pc:spChg chg="add del mod">
          <ac:chgData name="Qureshi, Taj F." userId="e19f8f9a-4b04-4f30-b58a-5b568dd505d5" providerId="ADAL" clId="{2464CE5F-C02E-4984-9CCE-4B21A79513B4}" dt="2022-12-21T16:22:31.508" v="108" actId="478"/>
          <ac:spMkLst>
            <pc:docMk/>
            <pc:sldMk cId="2663093350" sldId="3369"/>
            <ac:spMk id="6" creationId="{C051E2CF-06E6-40DA-B0C3-8306CBF90005}"/>
          </ac:spMkLst>
        </pc:spChg>
        <pc:spChg chg="add mod">
          <ac:chgData name="Qureshi, Taj F." userId="e19f8f9a-4b04-4f30-b58a-5b568dd505d5" providerId="ADAL" clId="{2464CE5F-C02E-4984-9CCE-4B21A79513B4}" dt="2022-12-21T16:22:31.931" v="109"/>
          <ac:spMkLst>
            <pc:docMk/>
            <pc:sldMk cId="2663093350" sldId="3369"/>
            <ac:spMk id="7" creationId="{0D0B740B-FF4E-46CE-B86E-D542CF175AD6}"/>
          </ac:spMkLst>
        </pc:spChg>
      </pc:sldChg>
      <pc:sldChg chg="addSp modSp mod">
        <pc:chgData name="Qureshi, Taj F." userId="e19f8f9a-4b04-4f30-b58a-5b568dd505d5" providerId="ADAL" clId="{2464CE5F-C02E-4984-9CCE-4B21A79513B4}" dt="2022-12-21T16:22:20.439" v="103" actId="1076"/>
        <pc:sldMkLst>
          <pc:docMk/>
          <pc:sldMk cId="427793889" sldId="3388"/>
        </pc:sldMkLst>
        <pc:spChg chg="add mod">
          <ac:chgData name="Qureshi, Taj F." userId="e19f8f9a-4b04-4f30-b58a-5b568dd505d5" providerId="ADAL" clId="{2464CE5F-C02E-4984-9CCE-4B21A79513B4}" dt="2022-12-21T16:22:20.439" v="103" actId="1076"/>
          <ac:spMkLst>
            <pc:docMk/>
            <pc:sldMk cId="427793889" sldId="3388"/>
            <ac:spMk id="3" creationId="{8CA9CC18-03EC-4587-8495-D47B8EA3EAEE}"/>
          </ac:spMkLst>
        </pc:spChg>
      </pc:sldChg>
      <pc:sldChg chg="addSp delSp modSp mod">
        <pc:chgData name="Qureshi, Taj F." userId="e19f8f9a-4b04-4f30-b58a-5b568dd505d5" providerId="ADAL" clId="{2464CE5F-C02E-4984-9CCE-4B21A79513B4}" dt="2022-12-21T16:22:36.537" v="112"/>
        <pc:sldMkLst>
          <pc:docMk/>
          <pc:sldMk cId="240661228" sldId="3423"/>
        </pc:sldMkLst>
        <pc:spChg chg="add del mod">
          <ac:chgData name="Qureshi, Taj F." userId="e19f8f9a-4b04-4f30-b58a-5b568dd505d5" providerId="ADAL" clId="{2464CE5F-C02E-4984-9CCE-4B21A79513B4}" dt="2022-12-21T16:22:36.169" v="111" actId="478"/>
          <ac:spMkLst>
            <pc:docMk/>
            <pc:sldMk cId="240661228" sldId="3423"/>
            <ac:spMk id="6" creationId="{AB813CB9-3A2C-48E2-9E4E-F7E1489A9E9A}"/>
          </ac:spMkLst>
        </pc:spChg>
        <pc:spChg chg="add mod">
          <ac:chgData name="Qureshi, Taj F." userId="e19f8f9a-4b04-4f30-b58a-5b568dd505d5" providerId="ADAL" clId="{2464CE5F-C02E-4984-9CCE-4B21A79513B4}" dt="2022-12-21T16:22:36.537" v="112"/>
          <ac:spMkLst>
            <pc:docMk/>
            <pc:sldMk cId="240661228" sldId="3423"/>
            <ac:spMk id="7" creationId="{84D3AED2-C4FE-40A0-998C-E040A3BCA308}"/>
          </ac:spMkLst>
        </pc:spChg>
      </pc:sldChg>
      <pc:sldChg chg="addSp delSp modSp mod ord">
        <pc:chgData name="Qureshi, Taj F." userId="e19f8f9a-4b04-4f30-b58a-5b568dd505d5" providerId="ADAL" clId="{2464CE5F-C02E-4984-9CCE-4B21A79513B4}" dt="2023-01-11T16:47:54.352" v="306"/>
        <pc:sldMkLst>
          <pc:docMk/>
          <pc:sldMk cId="2157829121" sldId="3500"/>
        </pc:sldMkLst>
        <pc:spChg chg="mod">
          <ac:chgData name="Qureshi, Taj F." userId="e19f8f9a-4b04-4f30-b58a-5b568dd505d5" providerId="ADAL" clId="{2464CE5F-C02E-4984-9CCE-4B21A79513B4}" dt="2022-12-21T16:25:02.629" v="208" actId="207"/>
          <ac:spMkLst>
            <pc:docMk/>
            <pc:sldMk cId="2157829121" sldId="3500"/>
            <ac:spMk id="3" creationId="{DC1FB5CC-EE33-4D67-A5D0-01136FFFBE11}"/>
          </ac:spMkLst>
        </pc:spChg>
        <pc:spChg chg="add del mod">
          <ac:chgData name="Qureshi, Taj F." userId="e19f8f9a-4b04-4f30-b58a-5b568dd505d5" providerId="ADAL" clId="{2464CE5F-C02E-4984-9CCE-4B21A79513B4}" dt="2022-12-21T16:22:53.989" v="118" actId="478"/>
          <ac:spMkLst>
            <pc:docMk/>
            <pc:sldMk cId="2157829121" sldId="3500"/>
            <ac:spMk id="4" creationId="{716AF7A6-8139-4D1F-A35D-52B152B4494E}"/>
          </ac:spMkLst>
        </pc:spChg>
        <pc:spChg chg="add mod">
          <ac:chgData name="Qureshi, Taj F." userId="e19f8f9a-4b04-4f30-b58a-5b568dd505d5" providerId="ADAL" clId="{2464CE5F-C02E-4984-9CCE-4B21A79513B4}" dt="2022-12-21T16:22:54.433" v="119"/>
          <ac:spMkLst>
            <pc:docMk/>
            <pc:sldMk cId="2157829121" sldId="3500"/>
            <ac:spMk id="5" creationId="{E63280BE-C93B-43B1-A50E-5517E64E5746}"/>
          </ac:spMkLst>
        </pc:spChg>
        <pc:spChg chg="mod">
          <ac:chgData name="Qureshi, Taj F." userId="e19f8f9a-4b04-4f30-b58a-5b568dd505d5" providerId="ADAL" clId="{2464CE5F-C02E-4984-9CCE-4B21A79513B4}" dt="2022-12-21T16:24:16.667" v="155" actId="20577"/>
          <ac:spMkLst>
            <pc:docMk/>
            <pc:sldMk cId="2157829121" sldId="3500"/>
            <ac:spMk id="6" creationId="{4E4DD4B4-CC3F-48FA-A5E5-6C65C346258D}"/>
          </ac:spMkLst>
        </pc:spChg>
      </pc:sldChg>
      <pc:sldChg chg="addSp delSp modSp mod">
        <pc:chgData name="Qureshi, Taj F." userId="e19f8f9a-4b04-4f30-b58a-5b568dd505d5" providerId="ADAL" clId="{2464CE5F-C02E-4984-9CCE-4B21A79513B4}" dt="2022-12-21T16:27:35.664" v="212"/>
        <pc:sldMkLst>
          <pc:docMk/>
          <pc:sldMk cId="3640228099" sldId="3536"/>
        </pc:sldMkLst>
        <pc:spChg chg="add del mod">
          <ac:chgData name="Qureshi, Taj F." userId="e19f8f9a-4b04-4f30-b58a-5b568dd505d5" providerId="ADAL" clId="{2464CE5F-C02E-4984-9CCE-4B21A79513B4}" dt="2022-12-21T16:22:40.815" v="113" actId="478"/>
          <ac:spMkLst>
            <pc:docMk/>
            <pc:sldMk cId="3640228099" sldId="3536"/>
            <ac:spMk id="7" creationId="{3BFA9121-5695-4B59-9603-19D148A1AE8E}"/>
          </ac:spMkLst>
        </pc:spChg>
        <pc:spChg chg="add mod">
          <ac:chgData name="Qureshi, Taj F." userId="e19f8f9a-4b04-4f30-b58a-5b568dd505d5" providerId="ADAL" clId="{2464CE5F-C02E-4984-9CCE-4B21A79513B4}" dt="2022-12-21T16:27:35.664" v="212"/>
          <ac:spMkLst>
            <pc:docMk/>
            <pc:sldMk cId="3640228099" sldId="3536"/>
            <ac:spMk id="11" creationId="{51F187CA-8AC1-47F5-8AB5-16CBCBFA5B41}"/>
          </ac:spMkLst>
        </pc:spChg>
        <pc:picChg chg="add del mod">
          <ac:chgData name="Qureshi, Taj F." userId="e19f8f9a-4b04-4f30-b58a-5b568dd505d5" providerId="ADAL" clId="{2464CE5F-C02E-4984-9CCE-4B21A79513B4}" dt="2022-12-21T16:27:27.271" v="210"/>
          <ac:picMkLst>
            <pc:docMk/>
            <pc:sldMk cId="3640228099" sldId="3536"/>
            <ac:picMk id="10" creationId="{F1885B08-0922-48B2-9BD8-CE68BEE2D35C}"/>
          </ac:picMkLst>
        </pc:picChg>
      </pc:sldChg>
      <pc:sldChg chg="addSp delSp modSp mod ord">
        <pc:chgData name="Qureshi, Taj F." userId="e19f8f9a-4b04-4f30-b58a-5b568dd505d5" providerId="ADAL" clId="{2464CE5F-C02E-4984-9CCE-4B21A79513B4}" dt="2022-12-21T16:27:32.435" v="211" actId="1076"/>
        <pc:sldMkLst>
          <pc:docMk/>
          <pc:sldMk cId="3537679081" sldId="3537"/>
        </pc:sldMkLst>
        <pc:spChg chg="add del mod">
          <ac:chgData name="Qureshi, Taj F." userId="e19f8f9a-4b04-4f30-b58a-5b568dd505d5" providerId="ADAL" clId="{2464CE5F-C02E-4984-9CCE-4B21A79513B4}" dt="2022-12-21T16:22:45.794" v="115" actId="478"/>
          <ac:spMkLst>
            <pc:docMk/>
            <pc:sldMk cId="3537679081" sldId="3537"/>
            <ac:spMk id="6" creationId="{E9FC08F1-F12A-4618-A8AE-2C505966CF06}"/>
          </ac:spMkLst>
        </pc:spChg>
        <pc:spChg chg="add mod">
          <ac:chgData name="Qureshi, Taj F." userId="e19f8f9a-4b04-4f30-b58a-5b568dd505d5" providerId="ADAL" clId="{2464CE5F-C02E-4984-9CCE-4B21A79513B4}" dt="2022-12-21T16:27:32.435" v="211" actId="1076"/>
          <ac:spMkLst>
            <pc:docMk/>
            <pc:sldMk cId="3537679081" sldId="3537"/>
            <ac:spMk id="7" creationId="{24EA28A6-83A9-4A51-BC8F-825EC8BE1B02}"/>
          </ac:spMkLst>
        </pc:spChg>
      </pc:sldChg>
      <pc:sldChg chg="addSp delSp modSp mod">
        <pc:chgData name="Qureshi, Taj F." userId="e19f8f9a-4b04-4f30-b58a-5b568dd505d5" providerId="ADAL" clId="{2464CE5F-C02E-4984-9CCE-4B21A79513B4}" dt="2022-12-21T16:22:25.133" v="106"/>
        <pc:sldMkLst>
          <pc:docMk/>
          <pc:sldMk cId="2053167649" sldId="3539"/>
        </pc:sldMkLst>
        <pc:spChg chg="add del mod">
          <ac:chgData name="Qureshi, Taj F." userId="e19f8f9a-4b04-4f30-b58a-5b568dd505d5" providerId="ADAL" clId="{2464CE5F-C02E-4984-9CCE-4B21A79513B4}" dt="2022-12-21T16:22:24.839" v="105" actId="478"/>
          <ac:spMkLst>
            <pc:docMk/>
            <pc:sldMk cId="2053167649" sldId="3539"/>
            <ac:spMk id="6" creationId="{EB7A7A2E-ABE7-4585-846C-9549CD5578BC}"/>
          </ac:spMkLst>
        </pc:spChg>
        <pc:spChg chg="add mod">
          <ac:chgData name="Qureshi, Taj F." userId="e19f8f9a-4b04-4f30-b58a-5b568dd505d5" providerId="ADAL" clId="{2464CE5F-C02E-4984-9CCE-4B21A79513B4}" dt="2022-12-21T16:22:25.133" v="106"/>
          <ac:spMkLst>
            <pc:docMk/>
            <pc:sldMk cId="2053167649" sldId="3539"/>
            <ac:spMk id="7" creationId="{735BA9C4-71A0-4AC4-8223-6D58D72C9A9E}"/>
          </ac:spMkLst>
        </pc:spChg>
      </pc:sldChg>
      <pc:sldChg chg="addSp delSp modSp mod">
        <pc:chgData name="Qureshi, Taj F." userId="e19f8f9a-4b04-4f30-b58a-5b568dd505d5" providerId="ADAL" clId="{2464CE5F-C02E-4984-9CCE-4B21A79513B4}" dt="2022-12-21T16:22:49.822" v="117"/>
        <pc:sldMkLst>
          <pc:docMk/>
          <pc:sldMk cId="3467862585" sldId="3540"/>
        </pc:sldMkLst>
        <pc:spChg chg="add del mod">
          <ac:chgData name="Qureshi, Taj F." userId="e19f8f9a-4b04-4f30-b58a-5b568dd505d5" providerId="ADAL" clId="{2464CE5F-C02E-4984-9CCE-4B21A79513B4}" dt="2022-12-21T16:22:49.465" v="116" actId="478"/>
          <ac:spMkLst>
            <pc:docMk/>
            <pc:sldMk cId="3467862585" sldId="3540"/>
            <ac:spMk id="11" creationId="{FB359ED9-E304-4E48-B32C-C1031459F86B}"/>
          </ac:spMkLst>
        </pc:spChg>
        <pc:spChg chg="add mod">
          <ac:chgData name="Qureshi, Taj F." userId="e19f8f9a-4b04-4f30-b58a-5b568dd505d5" providerId="ADAL" clId="{2464CE5F-C02E-4984-9CCE-4B21A79513B4}" dt="2022-12-21T16:22:49.822" v="117"/>
          <ac:spMkLst>
            <pc:docMk/>
            <pc:sldMk cId="3467862585" sldId="3540"/>
            <ac:spMk id="15" creationId="{76C9CF04-ADB7-4ED8-AC5F-83A48FBB6835}"/>
          </ac:spMkLst>
        </pc:spChg>
      </pc:sldChg>
      <pc:sldChg chg="del">
        <pc:chgData name="Qureshi, Taj F." userId="e19f8f9a-4b04-4f30-b58a-5b568dd505d5" providerId="ADAL" clId="{2464CE5F-C02E-4984-9CCE-4B21A79513B4}" dt="2022-12-21T16:12:55.441" v="29" actId="47"/>
        <pc:sldMkLst>
          <pc:docMk/>
          <pc:sldMk cId="120485571" sldId="3541"/>
        </pc:sldMkLst>
      </pc:sldChg>
      <pc:sldChg chg="delSp modSp add mod ord delCm modNotesTx">
        <pc:chgData name="Qureshi, Taj F." userId="e19f8f9a-4b04-4f30-b58a-5b568dd505d5" providerId="ADAL" clId="{2464CE5F-C02E-4984-9CCE-4B21A79513B4}" dt="2023-01-11T16:48:32.957" v="343"/>
        <pc:sldMkLst>
          <pc:docMk/>
          <pc:sldMk cId="1164912762" sldId="3541"/>
        </pc:sldMkLst>
        <pc:spChg chg="mod">
          <ac:chgData name="Qureshi, Taj F." userId="e19f8f9a-4b04-4f30-b58a-5b568dd505d5" providerId="ADAL" clId="{2464CE5F-C02E-4984-9CCE-4B21A79513B4}" dt="2023-01-11T16:48:28.071" v="342" actId="20577"/>
          <ac:spMkLst>
            <pc:docMk/>
            <pc:sldMk cId="1164912762" sldId="3541"/>
            <ac:spMk id="8" creationId="{27C4593E-F331-4059-A2BA-5BC77797F351}"/>
          </ac:spMkLst>
        </pc:spChg>
        <pc:spChg chg="mod">
          <ac:chgData name="Qureshi, Taj F." userId="e19f8f9a-4b04-4f30-b58a-5b568dd505d5" providerId="ADAL" clId="{2464CE5F-C02E-4984-9CCE-4B21A79513B4}" dt="2022-12-21T16:30:13.452" v="304" actId="1076"/>
          <ac:spMkLst>
            <pc:docMk/>
            <pc:sldMk cId="1164912762" sldId="3541"/>
            <ac:spMk id="11" creationId="{51F187CA-8AC1-47F5-8AB5-16CBCBFA5B41}"/>
          </ac:spMkLst>
        </pc:spChg>
        <pc:picChg chg="del">
          <ac:chgData name="Qureshi, Taj F." userId="e19f8f9a-4b04-4f30-b58a-5b568dd505d5" providerId="ADAL" clId="{2464CE5F-C02E-4984-9CCE-4B21A79513B4}" dt="2022-12-21T16:29:25.811" v="215" actId="478"/>
          <ac:picMkLst>
            <pc:docMk/>
            <pc:sldMk cId="1164912762" sldId="3541"/>
            <ac:picMk id="2" creationId="{B76BDCC3-1E81-D04E-F835-169A39652677}"/>
          </ac:picMkLst>
        </pc:picChg>
        <pc:picChg chg="del">
          <ac:chgData name="Qureshi, Taj F." userId="e19f8f9a-4b04-4f30-b58a-5b568dd505d5" providerId="ADAL" clId="{2464CE5F-C02E-4984-9CCE-4B21A79513B4}" dt="2022-12-21T16:29:31.653" v="221" actId="478"/>
          <ac:picMkLst>
            <pc:docMk/>
            <pc:sldMk cId="1164912762" sldId="3541"/>
            <ac:picMk id="4" creationId="{76DC0DEC-2A79-000C-DB69-3EE007F6BC26}"/>
          </ac:picMkLst>
        </pc:picChg>
        <pc:picChg chg="del">
          <ac:chgData name="Qureshi, Taj F." userId="e19f8f9a-4b04-4f30-b58a-5b568dd505d5" providerId="ADAL" clId="{2464CE5F-C02E-4984-9CCE-4B21A79513B4}" dt="2022-12-21T16:29:30.744" v="220" actId="478"/>
          <ac:picMkLst>
            <pc:docMk/>
            <pc:sldMk cId="1164912762" sldId="3541"/>
            <ac:picMk id="5" creationId="{8444857F-2E62-435A-B49C-9358FA35628B}"/>
          </ac:picMkLst>
        </pc:picChg>
      </pc:sldChg>
      <pc:sldChg chg="add del">
        <pc:chgData name="Qureshi, Taj F." userId="e19f8f9a-4b04-4f30-b58a-5b568dd505d5" providerId="ADAL" clId="{2464CE5F-C02E-4984-9CCE-4B21A79513B4}" dt="2022-12-21T16:14:38.494" v="82"/>
        <pc:sldMkLst>
          <pc:docMk/>
          <pc:sldMk cId="3180812886" sldId="3541"/>
        </pc:sldMkLst>
      </pc:sldChg>
      <pc:sldChg chg="add del">
        <pc:chgData name="Qureshi, Taj F." userId="e19f8f9a-4b04-4f30-b58a-5b568dd505d5" providerId="ADAL" clId="{2464CE5F-C02E-4984-9CCE-4B21A79513B4}" dt="2022-12-21T16:14:40.639" v="84"/>
        <pc:sldMkLst>
          <pc:docMk/>
          <pc:sldMk cId="3845726321" sldId="3541"/>
        </pc:sldMkLst>
      </pc:sldChg>
      <pc:sldChg chg="del">
        <pc:chgData name="Qureshi, Taj F." userId="e19f8f9a-4b04-4f30-b58a-5b568dd505d5" providerId="ADAL" clId="{2464CE5F-C02E-4984-9CCE-4B21A79513B4}" dt="2022-12-21T16:13:05.144" v="33" actId="47"/>
        <pc:sldMkLst>
          <pc:docMk/>
          <pc:sldMk cId="2630021636" sldId="3542"/>
        </pc:sldMkLst>
      </pc:sldChg>
      <pc:sldChg chg="del">
        <pc:chgData name="Qureshi, Taj F." userId="e19f8f9a-4b04-4f30-b58a-5b568dd505d5" providerId="ADAL" clId="{2464CE5F-C02E-4984-9CCE-4B21A79513B4}" dt="2022-12-21T16:13:42.199" v="35" actId="47"/>
        <pc:sldMkLst>
          <pc:docMk/>
          <pc:sldMk cId="1284205858" sldId="3543"/>
        </pc:sldMkLst>
      </pc:sldChg>
      <pc:sldChg chg="del">
        <pc:chgData name="Qureshi, Taj F." userId="e19f8f9a-4b04-4f30-b58a-5b568dd505d5" providerId="ADAL" clId="{2464CE5F-C02E-4984-9CCE-4B21A79513B4}" dt="2022-12-21T16:13:13.033" v="34" actId="47"/>
        <pc:sldMkLst>
          <pc:docMk/>
          <pc:sldMk cId="912903528" sldId="3544"/>
        </pc:sldMkLst>
      </pc:sldChg>
      <pc:sldChg chg="del">
        <pc:chgData name="Qureshi, Taj F." userId="e19f8f9a-4b04-4f30-b58a-5b568dd505d5" providerId="ADAL" clId="{2464CE5F-C02E-4984-9CCE-4B21A79513B4}" dt="2022-12-21T16:12:56.473" v="30" actId="47"/>
        <pc:sldMkLst>
          <pc:docMk/>
          <pc:sldMk cId="2961781329" sldId="3545"/>
        </pc:sldMkLst>
      </pc:sldChg>
      <pc:sldChg chg="del">
        <pc:chgData name="Qureshi, Taj F." userId="e19f8f9a-4b04-4f30-b58a-5b568dd505d5" providerId="ADAL" clId="{2464CE5F-C02E-4984-9CCE-4B21A79513B4}" dt="2022-12-21T16:13:05.144" v="33" actId="47"/>
        <pc:sldMkLst>
          <pc:docMk/>
          <pc:sldMk cId="1566641004" sldId="2145705166"/>
        </pc:sldMkLst>
      </pc:sldChg>
      <pc:sldChg chg="del">
        <pc:chgData name="Qureshi, Taj F." userId="e19f8f9a-4b04-4f30-b58a-5b568dd505d5" providerId="ADAL" clId="{2464CE5F-C02E-4984-9CCE-4B21A79513B4}" dt="2022-12-21T16:13:05.144" v="33" actId="47"/>
        <pc:sldMkLst>
          <pc:docMk/>
          <pc:sldMk cId="3788814392" sldId="2145705169"/>
        </pc:sldMkLst>
      </pc:sldChg>
      <pc:sldChg chg="del">
        <pc:chgData name="Qureshi, Taj F." userId="e19f8f9a-4b04-4f30-b58a-5b568dd505d5" providerId="ADAL" clId="{2464CE5F-C02E-4984-9CCE-4B21A79513B4}" dt="2022-12-21T16:12:57.451" v="32" actId="47"/>
        <pc:sldMkLst>
          <pc:docMk/>
          <pc:sldMk cId="2263237144" sldId="2145705174"/>
        </pc:sldMkLst>
      </pc:sldChg>
      <pc:sldChg chg="del">
        <pc:chgData name="Qureshi, Taj F." userId="e19f8f9a-4b04-4f30-b58a-5b568dd505d5" providerId="ADAL" clId="{2464CE5F-C02E-4984-9CCE-4B21A79513B4}" dt="2022-12-21T16:13:05.144" v="33" actId="47"/>
        <pc:sldMkLst>
          <pc:docMk/>
          <pc:sldMk cId="2364308638" sldId="2145705197"/>
        </pc:sldMkLst>
      </pc:sldChg>
      <pc:sldChg chg="del">
        <pc:chgData name="Qureshi, Taj F." userId="e19f8f9a-4b04-4f30-b58a-5b568dd505d5" providerId="ADAL" clId="{2464CE5F-C02E-4984-9CCE-4B21A79513B4}" dt="2022-12-21T16:12:57.052" v="31" actId="47"/>
        <pc:sldMkLst>
          <pc:docMk/>
          <pc:sldMk cId="1008298659" sldId="2145705198"/>
        </pc:sldMkLst>
      </pc:sldChg>
      <pc:sldChg chg="del">
        <pc:chgData name="Qureshi, Taj F." userId="e19f8f9a-4b04-4f30-b58a-5b568dd505d5" providerId="ADAL" clId="{2464CE5F-C02E-4984-9CCE-4B21A79513B4}" dt="2022-12-21T16:13:05.144" v="33" actId="47"/>
        <pc:sldMkLst>
          <pc:docMk/>
          <pc:sldMk cId="1229717690" sldId="2145705206"/>
        </pc:sldMkLst>
      </pc:sldChg>
      <pc:sldChg chg="del">
        <pc:chgData name="Qureshi, Taj F." userId="e19f8f9a-4b04-4f30-b58a-5b568dd505d5" providerId="ADAL" clId="{2464CE5F-C02E-4984-9CCE-4B21A79513B4}" dt="2022-12-21T16:13:05.144" v="33" actId="47"/>
        <pc:sldMkLst>
          <pc:docMk/>
          <pc:sldMk cId="187848670" sldId="2147468589"/>
        </pc:sldMkLst>
      </pc:sldChg>
      <pc:sldMasterChg chg="delSldLayout">
        <pc:chgData name="Qureshi, Taj F." userId="e19f8f9a-4b04-4f30-b58a-5b568dd505d5" providerId="ADAL" clId="{2464CE5F-C02E-4984-9CCE-4B21A79513B4}" dt="2022-12-21T16:13:05.144" v="33" actId="47"/>
        <pc:sldMasterMkLst>
          <pc:docMk/>
          <pc:sldMasterMk cId="462481287" sldId="2147483824"/>
        </pc:sldMasterMkLst>
        <pc:sldLayoutChg chg="del">
          <pc:chgData name="Qureshi, Taj F." userId="e19f8f9a-4b04-4f30-b58a-5b568dd505d5" providerId="ADAL" clId="{2464CE5F-C02E-4984-9CCE-4B21A79513B4}" dt="2022-12-21T16:13:05.144" v="33" actId="47"/>
          <pc:sldLayoutMkLst>
            <pc:docMk/>
            <pc:sldMasterMk cId="462481287" sldId="2147483824"/>
            <pc:sldLayoutMk cId="202081253" sldId="2147483844"/>
          </pc:sldLayoutMkLst>
        </pc:sldLayoutChg>
      </pc:sldMasterChg>
    </pc:docChg>
  </pc:docChgLst>
  <pc:docChgLst>
    <pc:chgData name="Qureshi, Taj F." userId="e19f8f9a-4b04-4f30-b58a-5b568dd505d5" providerId="ADAL" clId="{476709AC-847F-4128-B445-594C08B39226}"/>
    <pc:docChg chg="undo custSel modSld">
      <pc:chgData name="Qureshi, Taj F." userId="e19f8f9a-4b04-4f30-b58a-5b568dd505d5" providerId="ADAL" clId="{476709AC-847F-4128-B445-594C08B39226}" dt="2023-05-10T13:14:18.241" v="91" actId="20577"/>
      <pc:docMkLst>
        <pc:docMk/>
      </pc:docMkLst>
      <pc:sldChg chg="modSp mod">
        <pc:chgData name="Qureshi, Taj F." userId="e19f8f9a-4b04-4f30-b58a-5b568dd505d5" providerId="ADAL" clId="{476709AC-847F-4128-B445-594C08B39226}" dt="2023-05-01T14:03:51.206" v="5" actId="20577"/>
        <pc:sldMkLst>
          <pc:docMk/>
          <pc:sldMk cId="2201927228" sldId="281"/>
        </pc:sldMkLst>
        <pc:spChg chg="mod">
          <ac:chgData name="Qureshi, Taj F." userId="e19f8f9a-4b04-4f30-b58a-5b568dd505d5" providerId="ADAL" clId="{476709AC-847F-4128-B445-594C08B39226}" dt="2023-05-01T14:03:51.206" v="5" actId="20577"/>
          <ac:spMkLst>
            <pc:docMk/>
            <pc:sldMk cId="2201927228" sldId="281"/>
            <ac:spMk id="7" creationId="{7CC54396-97AB-409E-B850-2AE2619B0508}"/>
          </ac:spMkLst>
        </pc:spChg>
      </pc:sldChg>
      <pc:sldChg chg="modSp mod">
        <pc:chgData name="Qureshi, Taj F." userId="e19f8f9a-4b04-4f30-b58a-5b568dd505d5" providerId="ADAL" clId="{476709AC-847F-4128-B445-594C08B39226}" dt="2023-05-01T14:03:56.425" v="9" actId="20577"/>
        <pc:sldMkLst>
          <pc:docMk/>
          <pc:sldMk cId="1635790025" sldId="3340"/>
        </pc:sldMkLst>
        <pc:graphicFrameChg chg="modGraphic">
          <ac:chgData name="Qureshi, Taj F." userId="e19f8f9a-4b04-4f30-b58a-5b568dd505d5" providerId="ADAL" clId="{476709AC-847F-4128-B445-594C08B39226}" dt="2023-05-01T14:03:56.425" v="9" actId="20577"/>
          <ac:graphicFrameMkLst>
            <pc:docMk/>
            <pc:sldMk cId="1635790025" sldId="3340"/>
            <ac:graphicFrameMk id="4" creationId="{9206FA14-07A6-4D4F-8AD6-A1AE43D08CD3}"/>
          </ac:graphicFrameMkLst>
        </pc:graphicFrameChg>
      </pc:sldChg>
      <pc:sldChg chg="addSp modSp mod">
        <pc:chgData name="Qureshi, Taj F." userId="e19f8f9a-4b04-4f30-b58a-5b568dd505d5" providerId="ADAL" clId="{476709AC-847F-4128-B445-594C08B39226}" dt="2023-05-10T13:12:39.167" v="64" actId="1076"/>
        <pc:sldMkLst>
          <pc:docMk/>
          <pc:sldMk cId="2663093350" sldId="3369"/>
        </pc:sldMkLst>
        <pc:spChg chg="add mod">
          <ac:chgData name="Qureshi, Taj F." userId="e19f8f9a-4b04-4f30-b58a-5b568dd505d5" providerId="ADAL" clId="{476709AC-847F-4128-B445-594C08B39226}" dt="2023-05-01T14:04:25.826" v="38"/>
          <ac:spMkLst>
            <pc:docMk/>
            <pc:sldMk cId="2663093350" sldId="3369"/>
            <ac:spMk id="2" creationId="{7E3C7552-F0C9-1D52-2602-A711443DCC36}"/>
          </ac:spMkLst>
        </pc:spChg>
        <pc:spChg chg="mod">
          <ac:chgData name="Qureshi, Taj F." userId="e19f8f9a-4b04-4f30-b58a-5b568dd505d5" providerId="ADAL" clId="{476709AC-847F-4128-B445-594C08B39226}" dt="2023-05-10T13:11:32.234" v="60" actId="1076"/>
          <ac:spMkLst>
            <pc:docMk/>
            <pc:sldMk cId="2663093350" sldId="3369"/>
            <ac:spMk id="4" creationId="{3CFF6368-DC90-4FBD-9F18-35E51579F3F2}"/>
          </ac:spMkLst>
        </pc:spChg>
        <pc:picChg chg="mod">
          <ac:chgData name="Qureshi, Taj F." userId="e19f8f9a-4b04-4f30-b58a-5b568dd505d5" providerId="ADAL" clId="{476709AC-847F-4128-B445-594C08B39226}" dt="2023-05-10T13:11:49.225" v="62" actId="1076"/>
          <ac:picMkLst>
            <pc:docMk/>
            <pc:sldMk cId="2663093350" sldId="3369"/>
            <ac:picMk id="5" creationId="{061CCCF5-FB97-B4FC-8E64-7EC88624911E}"/>
          </ac:picMkLst>
        </pc:picChg>
        <pc:picChg chg="mod">
          <ac:chgData name="Qureshi, Taj F." userId="e19f8f9a-4b04-4f30-b58a-5b568dd505d5" providerId="ADAL" clId="{476709AC-847F-4128-B445-594C08B39226}" dt="2023-05-10T13:12:39.167" v="64" actId="1076"/>
          <ac:picMkLst>
            <pc:docMk/>
            <pc:sldMk cId="2663093350" sldId="3369"/>
            <ac:picMk id="6" creationId="{B38429F6-FF5D-0C0F-1B11-D821F18D1260}"/>
          </ac:picMkLst>
        </pc:picChg>
        <pc:picChg chg="mod">
          <ac:chgData name="Qureshi, Taj F." userId="e19f8f9a-4b04-4f30-b58a-5b568dd505d5" providerId="ADAL" clId="{476709AC-847F-4128-B445-594C08B39226}" dt="2023-05-10T13:11:57.836" v="63" actId="1076"/>
          <ac:picMkLst>
            <pc:docMk/>
            <pc:sldMk cId="2663093350" sldId="3369"/>
            <ac:picMk id="10" creationId="{12BCBC07-2892-4A55-989E-54731CE76E4B}"/>
          </ac:picMkLst>
        </pc:picChg>
      </pc:sldChg>
      <pc:sldChg chg="addSp modSp mod">
        <pc:chgData name="Qureshi, Taj F." userId="e19f8f9a-4b04-4f30-b58a-5b568dd505d5" providerId="ADAL" clId="{476709AC-847F-4128-B445-594C08B39226}" dt="2023-05-10T13:10:25.137" v="46" actId="1076"/>
        <pc:sldMkLst>
          <pc:docMk/>
          <pc:sldMk cId="427793889" sldId="3388"/>
        </pc:sldMkLst>
        <pc:spChg chg="add mod">
          <ac:chgData name="Qureshi, Taj F." userId="e19f8f9a-4b04-4f30-b58a-5b568dd505d5" providerId="ADAL" clId="{476709AC-847F-4128-B445-594C08B39226}" dt="2023-05-01T14:04:23.319" v="37" actId="1076"/>
          <ac:spMkLst>
            <pc:docMk/>
            <pc:sldMk cId="427793889" sldId="3388"/>
            <ac:spMk id="4" creationId="{D7421D39-93A0-8AF6-6842-AF2F0D63A1B4}"/>
          </ac:spMkLst>
        </pc:spChg>
        <pc:picChg chg="mod">
          <ac:chgData name="Qureshi, Taj F." userId="e19f8f9a-4b04-4f30-b58a-5b568dd505d5" providerId="ADAL" clId="{476709AC-847F-4128-B445-594C08B39226}" dt="2023-05-10T13:10:25.137" v="46" actId="1076"/>
          <ac:picMkLst>
            <pc:docMk/>
            <pc:sldMk cId="427793889" sldId="3388"/>
            <ac:picMk id="3" creationId="{68DB6AAD-BA51-4CF7-E306-1282E4745166}"/>
          </ac:picMkLst>
        </pc:picChg>
        <pc:picChg chg="mod">
          <ac:chgData name="Qureshi, Taj F." userId="e19f8f9a-4b04-4f30-b58a-5b568dd505d5" providerId="ADAL" clId="{476709AC-847F-4128-B445-594C08B39226}" dt="2023-05-10T13:10:21.879" v="45" actId="1076"/>
          <ac:picMkLst>
            <pc:docMk/>
            <pc:sldMk cId="427793889" sldId="3388"/>
            <ac:picMk id="6" creationId="{B0C5AD4B-A68B-4BE7-805F-8F0B21D8775F}"/>
          </ac:picMkLst>
        </pc:picChg>
      </pc:sldChg>
      <pc:sldChg chg="addSp modSp modNotesTx">
        <pc:chgData name="Qureshi, Taj F." userId="e19f8f9a-4b04-4f30-b58a-5b568dd505d5" providerId="ADAL" clId="{476709AC-847F-4128-B445-594C08B39226}" dt="2023-05-10T13:14:04.736" v="84" actId="20577"/>
        <pc:sldMkLst>
          <pc:docMk/>
          <pc:sldMk cId="240661228" sldId="3423"/>
        </pc:sldMkLst>
        <pc:spChg chg="add mod">
          <ac:chgData name="Qureshi, Taj F." userId="e19f8f9a-4b04-4f30-b58a-5b568dd505d5" providerId="ADAL" clId="{476709AC-847F-4128-B445-594C08B39226}" dt="2023-05-01T14:04:39.381" v="40"/>
          <ac:spMkLst>
            <pc:docMk/>
            <pc:sldMk cId="240661228" sldId="3423"/>
            <ac:spMk id="2" creationId="{B27464D7-ED93-C093-5D8A-121272DDC3D0}"/>
          </ac:spMkLst>
        </pc:spChg>
      </pc:sldChg>
      <pc:sldChg chg="addSp modSp mod">
        <pc:chgData name="Qureshi, Taj F." userId="e19f8f9a-4b04-4f30-b58a-5b568dd505d5" providerId="ADAL" clId="{476709AC-847F-4128-B445-594C08B39226}" dt="2023-05-10T13:14:18.241" v="91" actId="20577"/>
        <pc:sldMkLst>
          <pc:docMk/>
          <pc:sldMk cId="2157829121" sldId="3500"/>
        </pc:sldMkLst>
        <pc:spChg chg="add mod">
          <ac:chgData name="Qureshi, Taj F." userId="e19f8f9a-4b04-4f30-b58a-5b568dd505d5" providerId="ADAL" clId="{476709AC-847F-4128-B445-594C08B39226}" dt="2023-05-01T14:04:43.053" v="42"/>
          <ac:spMkLst>
            <pc:docMk/>
            <pc:sldMk cId="2157829121" sldId="3500"/>
            <ac:spMk id="2" creationId="{9978FF08-5102-5153-D71F-CDCD8C21346D}"/>
          </ac:spMkLst>
        </pc:spChg>
        <pc:spChg chg="mod">
          <ac:chgData name="Qureshi, Taj F." userId="e19f8f9a-4b04-4f30-b58a-5b568dd505d5" providerId="ADAL" clId="{476709AC-847F-4128-B445-594C08B39226}" dt="2023-05-10T13:14:18.241" v="91" actId="20577"/>
          <ac:spMkLst>
            <pc:docMk/>
            <pc:sldMk cId="2157829121" sldId="3500"/>
            <ac:spMk id="3" creationId="{DC1FB5CC-EE33-4D67-A5D0-01136FFFBE11}"/>
          </ac:spMkLst>
        </pc:spChg>
      </pc:sldChg>
      <pc:sldChg chg="addSp modSp modNotesTx">
        <pc:chgData name="Qureshi, Taj F." userId="e19f8f9a-4b04-4f30-b58a-5b568dd505d5" providerId="ADAL" clId="{476709AC-847F-4128-B445-594C08B39226}" dt="2023-05-10T13:14:08.718" v="90" actId="20577"/>
        <pc:sldMkLst>
          <pc:docMk/>
          <pc:sldMk cId="3640228099" sldId="3536"/>
        </pc:sldMkLst>
        <pc:spChg chg="add mod">
          <ac:chgData name="Qureshi, Taj F." userId="e19f8f9a-4b04-4f30-b58a-5b568dd505d5" providerId="ADAL" clId="{476709AC-847F-4128-B445-594C08B39226}" dt="2023-05-01T14:04:41.134" v="41"/>
          <ac:spMkLst>
            <pc:docMk/>
            <pc:sldMk cId="3640228099" sldId="3536"/>
            <ac:spMk id="3" creationId="{4AD05BA1-DAE5-1822-75DD-71A9AAFFA180}"/>
          </ac:spMkLst>
        </pc:spChg>
      </pc:sldChg>
      <pc:sldChg chg="addSp modSp">
        <pc:chgData name="Qureshi, Taj F." userId="e19f8f9a-4b04-4f30-b58a-5b568dd505d5" providerId="ADAL" clId="{476709AC-847F-4128-B445-594C08B39226}" dt="2023-05-01T14:04:45.108" v="43"/>
        <pc:sldMkLst>
          <pc:docMk/>
          <pc:sldMk cId="3537679081" sldId="3537"/>
        </pc:sldMkLst>
        <pc:spChg chg="add mod">
          <ac:chgData name="Qureshi, Taj F." userId="e19f8f9a-4b04-4f30-b58a-5b568dd505d5" providerId="ADAL" clId="{476709AC-847F-4128-B445-594C08B39226}" dt="2023-05-01T14:04:45.108" v="43"/>
          <ac:spMkLst>
            <pc:docMk/>
            <pc:sldMk cId="3537679081" sldId="3537"/>
            <ac:spMk id="2" creationId="{91EA516A-2339-11ED-B5DF-49210DB2CB00}"/>
          </ac:spMkLst>
        </pc:spChg>
      </pc:sldChg>
      <pc:sldChg chg="addSp modSp mod modNotesTx">
        <pc:chgData name="Qureshi, Taj F." userId="e19f8f9a-4b04-4f30-b58a-5b568dd505d5" providerId="ADAL" clId="{476709AC-847F-4128-B445-594C08B39226}" dt="2023-05-10T13:13:39.574" v="78" actId="14100"/>
        <pc:sldMkLst>
          <pc:docMk/>
          <pc:sldMk cId="2053167649" sldId="3539"/>
        </pc:sldMkLst>
        <pc:spChg chg="add mod">
          <ac:chgData name="Qureshi, Taj F." userId="e19f8f9a-4b04-4f30-b58a-5b568dd505d5" providerId="ADAL" clId="{476709AC-847F-4128-B445-594C08B39226}" dt="2023-05-01T14:04:27.357" v="39"/>
          <ac:spMkLst>
            <pc:docMk/>
            <pc:sldMk cId="2053167649" sldId="3539"/>
            <ac:spMk id="2" creationId="{E0C10B16-7258-85BE-5602-A4989B3E1C8B}"/>
          </ac:spMkLst>
        </pc:spChg>
        <pc:picChg chg="mod">
          <ac:chgData name="Qureshi, Taj F." userId="e19f8f9a-4b04-4f30-b58a-5b568dd505d5" providerId="ADAL" clId="{476709AC-847F-4128-B445-594C08B39226}" dt="2023-05-10T13:13:39.574" v="78" actId="14100"/>
          <ac:picMkLst>
            <pc:docMk/>
            <pc:sldMk cId="2053167649" sldId="3539"/>
            <ac:picMk id="3" creationId="{27B75DCB-E02D-7842-AD49-7D2531F78669}"/>
          </ac:picMkLst>
        </pc:picChg>
        <pc:picChg chg="mod">
          <ac:chgData name="Qureshi, Taj F." userId="e19f8f9a-4b04-4f30-b58a-5b568dd505d5" providerId="ADAL" clId="{476709AC-847F-4128-B445-594C08B39226}" dt="2023-05-10T13:13:15.579" v="72" actId="1076"/>
          <ac:picMkLst>
            <pc:docMk/>
            <pc:sldMk cId="2053167649" sldId="3539"/>
            <ac:picMk id="4" creationId="{764F459A-61B1-5BEE-54B1-5771719B8CA4}"/>
          </ac:picMkLst>
        </pc:picChg>
        <pc:picChg chg="mod">
          <ac:chgData name="Qureshi, Taj F." userId="e19f8f9a-4b04-4f30-b58a-5b568dd505d5" providerId="ADAL" clId="{476709AC-847F-4128-B445-594C08B39226}" dt="2023-05-10T13:13:04.368" v="68" actId="1076"/>
          <ac:picMkLst>
            <pc:docMk/>
            <pc:sldMk cId="2053167649" sldId="3539"/>
            <ac:picMk id="5" creationId="{98944371-2B86-3166-7841-CBFB88B13E12}"/>
          </ac:picMkLst>
        </pc:picChg>
      </pc:sldChg>
      <pc:sldChg chg="addSp modSp">
        <pc:chgData name="Qureshi, Taj F." userId="e19f8f9a-4b04-4f30-b58a-5b568dd505d5" providerId="ADAL" clId="{476709AC-847F-4128-B445-594C08B39226}" dt="2023-05-01T14:04:47.440" v="44"/>
        <pc:sldMkLst>
          <pc:docMk/>
          <pc:sldMk cId="3467862585" sldId="3540"/>
        </pc:sldMkLst>
        <pc:spChg chg="add mod">
          <ac:chgData name="Qureshi, Taj F." userId="e19f8f9a-4b04-4f30-b58a-5b568dd505d5" providerId="ADAL" clId="{476709AC-847F-4128-B445-594C08B39226}" dt="2023-05-01T14:04:47.440" v="44"/>
          <ac:spMkLst>
            <pc:docMk/>
            <pc:sldMk cId="3467862585" sldId="3540"/>
            <ac:spMk id="2" creationId="{6F0AA529-A272-E248-7360-E7AB945B60A3}"/>
          </ac:spMkLst>
        </pc:spChg>
      </pc:sldChg>
    </pc:docChg>
  </pc:docChgLst>
  <pc:docChgLst>
    <pc:chgData name="Qureshi, Taj F." userId="e19f8f9a-4b04-4f30-b58a-5b568dd505d5" providerId="ADAL" clId="{C06A0FAE-3967-49D2-B01D-4AC79571B42D}"/>
    <pc:docChg chg="custSel modSld">
      <pc:chgData name="Qureshi, Taj F." userId="e19f8f9a-4b04-4f30-b58a-5b568dd505d5" providerId="ADAL" clId="{C06A0FAE-3967-49D2-B01D-4AC79571B42D}" dt="2023-04-20T18:26:15.053" v="75" actId="1076"/>
      <pc:docMkLst>
        <pc:docMk/>
      </pc:docMkLst>
      <pc:sldChg chg="modSp mod">
        <pc:chgData name="Qureshi, Taj F." userId="e19f8f9a-4b04-4f30-b58a-5b568dd505d5" providerId="ADAL" clId="{C06A0FAE-3967-49D2-B01D-4AC79571B42D}" dt="2023-04-03T19:29:54.156" v="14" actId="20577"/>
        <pc:sldMkLst>
          <pc:docMk/>
          <pc:sldMk cId="2201927228" sldId="281"/>
        </pc:sldMkLst>
        <pc:spChg chg="mod">
          <ac:chgData name="Qureshi, Taj F." userId="e19f8f9a-4b04-4f30-b58a-5b568dd505d5" providerId="ADAL" clId="{C06A0FAE-3967-49D2-B01D-4AC79571B42D}" dt="2023-04-03T19:29:54.156" v="14" actId="20577"/>
          <ac:spMkLst>
            <pc:docMk/>
            <pc:sldMk cId="2201927228" sldId="281"/>
            <ac:spMk id="7" creationId="{7CC54396-97AB-409E-B850-2AE2619B0508}"/>
          </ac:spMkLst>
        </pc:spChg>
      </pc:sldChg>
      <pc:sldChg chg="modSp mod">
        <pc:chgData name="Qureshi, Taj F." userId="e19f8f9a-4b04-4f30-b58a-5b568dd505d5" providerId="ADAL" clId="{C06A0FAE-3967-49D2-B01D-4AC79571B42D}" dt="2023-04-03T19:34:41.858" v="20" actId="20577"/>
        <pc:sldMkLst>
          <pc:docMk/>
          <pc:sldMk cId="1635790025" sldId="3340"/>
        </pc:sldMkLst>
        <pc:graphicFrameChg chg="modGraphic">
          <ac:chgData name="Qureshi, Taj F." userId="e19f8f9a-4b04-4f30-b58a-5b568dd505d5" providerId="ADAL" clId="{C06A0FAE-3967-49D2-B01D-4AC79571B42D}" dt="2023-04-03T19:34:41.858" v="20" actId="20577"/>
          <ac:graphicFrameMkLst>
            <pc:docMk/>
            <pc:sldMk cId="1635790025" sldId="3340"/>
            <ac:graphicFrameMk id="4" creationId="{9206FA14-07A6-4D4F-8AD6-A1AE43D08CD3}"/>
          </ac:graphicFrameMkLst>
        </pc:graphicFrameChg>
      </pc:sldChg>
      <pc:sldChg chg="addSp modSp modNotesTx">
        <pc:chgData name="Qureshi, Taj F." userId="e19f8f9a-4b04-4f30-b58a-5b568dd505d5" providerId="ADAL" clId="{C06A0FAE-3967-49D2-B01D-4AC79571B42D}" dt="2023-04-13T14:39:58.326" v="68" actId="20577"/>
        <pc:sldMkLst>
          <pc:docMk/>
          <pc:sldMk cId="2663093350" sldId="3369"/>
        </pc:sldMkLst>
        <pc:spChg chg="add mod">
          <ac:chgData name="Qureshi, Taj F." userId="e19f8f9a-4b04-4f30-b58a-5b568dd505d5" providerId="ADAL" clId="{C06A0FAE-3967-49D2-B01D-4AC79571B42D}" dt="2023-04-03T19:35:02.116" v="48"/>
          <ac:spMkLst>
            <pc:docMk/>
            <pc:sldMk cId="2663093350" sldId="3369"/>
            <ac:spMk id="3" creationId="{F2E78A28-40B2-80D3-0F97-B4EB8502830D}"/>
          </ac:spMkLst>
        </pc:spChg>
      </pc:sldChg>
      <pc:sldChg chg="addSp modSp mod">
        <pc:chgData name="Qureshi, Taj F." userId="e19f8f9a-4b04-4f30-b58a-5b568dd505d5" providerId="ADAL" clId="{C06A0FAE-3967-49D2-B01D-4AC79571B42D}" dt="2023-04-20T18:26:15.053" v="75" actId="1076"/>
        <pc:sldMkLst>
          <pc:docMk/>
          <pc:sldMk cId="427793889" sldId="3388"/>
        </pc:sldMkLst>
        <pc:spChg chg="add mod">
          <ac:chgData name="Qureshi, Taj F." userId="e19f8f9a-4b04-4f30-b58a-5b568dd505d5" providerId="ADAL" clId="{C06A0FAE-3967-49D2-B01D-4AC79571B42D}" dt="2023-04-03T19:34:59.874" v="47" actId="1076"/>
          <ac:spMkLst>
            <pc:docMk/>
            <pc:sldMk cId="427793889" sldId="3388"/>
            <ac:spMk id="4" creationId="{38A9068E-D605-CB46-71C9-E1C0C3BFC8AE}"/>
          </ac:spMkLst>
        </pc:spChg>
        <pc:picChg chg="mod">
          <ac:chgData name="Qureshi, Taj F." userId="e19f8f9a-4b04-4f30-b58a-5b568dd505d5" providerId="ADAL" clId="{C06A0FAE-3967-49D2-B01D-4AC79571B42D}" dt="2023-04-20T18:26:15.053" v="75" actId="1076"/>
          <ac:picMkLst>
            <pc:docMk/>
            <pc:sldMk cId="427793889" sldId="3388"/>
            <ac:picMk id="3" creationId="{68DB6AAD-BA51-4CF7-E306-1282E4745166}"/>
          </ac:picMkLst>
        </pc:picChg>
        <pc:picChg chg="mod">
          <ac:chgData name="Qureshi, Taj F." userId="e19f8f9a-4b04-4f30-b58a-5b568dd505d5" providerId="ADAL" clId="{C06A0FAE-3967-49D2-B01D-4AC79571B42D}" dt="2023-04-13T14:40:21.609" v="71" actId="14100"/>
          <ac:picMkLst>
            <pc:docMk/>
            <pc:sldMk cId="427793889" sldId="3388"/>
            <ac:picMk id="5" creationId="{819E5339-4F41-B70D-EC82-669917B3EF0B}"/>
          </ac:picMkLst>
        </pc:picChg>
      </pc:sldChg>
      <pc:sldChg chg="addSp modSp">
        <pc:chgData name="Qureshi, Taj F." userId="e19f8f9a-4b04-4f30-b58a-5b568dd505d5" providerId="ADAL" clId="{C06A0FAE-3967-49D2-B01D-4AC79571B42D}" dt="2023-04-03T19:35:05.751" v="50"/>
        <pc:sldMkLst>
          <pc:docMk/>
          <pc:sldMk cId="240661228" sldId="3423"/>
        </pc:sldMkLst>
        <pc:spChg chg="add mod">
          <ac:chgData name="Qureshi, Taj F." userId="e19f8f9a-4b04-4f30-b58a-5b568dd505d5" providerId="ADAL" clId="{C06A0FAE-3967-49D2-B01D-4AC79571B42D}" dt="2023-04-03T19:35:05.751" v="50"/>
          <ac:spMkLst>
            <pc:docMk/>
            <pc:sldMk cId="240661228" sldId="3423"/>
            <ac:spMk id="3" creationId="{4D51E603-B756-AFBE-D339-FFCE018B6656}"/>
          </ac:spMkLst>
        </pc:spChg>
      </pc:sldChg>
      <pc:sldChg chg="addSp modSp mod">
        <pc:chgData name="Qureshi, Taj F." userId="e19f8f9a-4b04-4f30-b58a-5b568dd505d5" providerId="ADAL" clId="{C06A0FAE-3967-49D2-B01D-4AC79571B42D}" dt="2023-04-13T14:38:17.997" v="66" actId="20577"/>
        <pc:sldMkLst>
          <pc:docMk/>
          <pc:sldMk cId="2157829121" sldId="3500"/>
        </pc:sldMkLst>
        <pc:spChg chg="add mod">
          <ac:chgData name="Qureshi, Taj F." userId="e19f8f9a-4b04-4f30-b58a-5b568dd505d5" providerId="ADAL" clId="{C06A0FAE-3967-49D2-B01D-4AC79571B42D}" dt="2023-04-03T19:35:09.032" v="52"/>
          <ac:spMkLst>
            <pc:docMk/>
            <pc:sldMk cId="2157829121" sldId="3500"/>
            <ac:spMk id="2" creationId="{CDB18A67-4255-FB56-3A3C-6191E0FF7A95}"/>
          </ac:spMkLst>
        </pc:spChg>
        <pc:spChg chg="mod">
          <ac:chgData name="Qureshi, Taj F." userId="e19f8f9a-4b04-4f30-b58a-5b568dd505d5" providerId="ADAL" clId="{C06A0FAE-3967-49D2-B01D-4AC79571B42D}" dt="2023-04-13T14:38:17.997" v="66" actId="20577"/>
          <ac:spMkLst>
            <pc:docMk/>
            <pc:sldMk cId="2157829121" sldId="3500"/>
            <ac:spMk id="3" creationId="{DC1FB5CC-EE33-4D67-A5D0-01136FFFBE11}"/>
          </ac:spMkLst>
        </pc:spChg>
      </pc:sldChg>
      <pc:sldChg chg="addSp modSp mod">
        <pc:chgData name="Qureshi, Taj F." userId="e19f8f9a-4b04-4f30-b58a-5b568dd505d5" providerId="ADAL" clId="{C06A0FAE-3967-49D2-B01D-4AC79571B42D}" dt="2023-04-13T16:05:13.424" v="73" actId="14100"/>
        <pc:sldMkLst>
          <pc:docMk/>
          <pc:sldMk cId="3640228099" sldId="3536"/>
        </pc:sldMkLst>
        <pc:spChg chg="add mod">
          <ac:chgData name="Qureshi, Taj F." userId="e19f8f9a-4b04-4f30-b58a-5b568dd505d5" providerId="ADAL" clId="{C06A0FAE-3967-49D2-B01D-4AC79571B42D}" dt="2023-04-03T19:35:07.343" v="51"/>
          <ac:spMkLst>
            <pc:docMk/>
            <pc:sldMk cId="3640228099" sldId="3536"/>
            <ac:spMk id="2" creationId="{C3290D67-8E55-62DE-5B33-0235CB5BA2C0}"/>
          </ac:spMkLst>
        </pc:spChg>
        <pc:picChg chg="mod">
          <ac:chgData name="Qureshi, Taj F." userId="e19f8f9a-4b04-4f30-b58a-5b568dd505d5" providerId="ADAL" clId="{C06A0FAE-3967-49D2-B01D-4AC79571B42D}" dt="2023-04-13T16:05:13.424" v="73" actId="14100"/>
          <ac:picMkLst>
            <pc:docMk/>
            <pc:sldMk cId="3640228099" sldId="3536"/>
            <ac:picMk id="2" creationId="{B0F374E9-B60B-6B03-C9C6-40F04323F9A3}"/>
          </ac:picMkLst>
        </pc:picChg>
      </pc:sldChg>
      <pc:sldChg chg="addSp modSp">
        <pc:chgData name="Qureshi, Taj F." userId="e19f8f9a-4b04-4f30-b58a-5b568dd505d5" providerId="ADAL" clId="{C06A0FAE-3967-49D2-B01D-4AC79571B42D}" dt="2023-04-03T19:35:10.733" v="53"/>
        <pc:sldMkLst>
          <pc:docMk/>
          <pc:sldMk cId="3537679081" sldId="3537"/>
        </pc:sldMkLst>
        <pc:spChg chg="add mod">
          <ac:chgData name="Qureshi, Taj F." userId="e19f8f9a-4b04-4f30-b58a-5b568dd505d5" providerId="ADAL" clId="{C06A0FAE-3967-49D2-B01D-4AC79571B42D}" dt="2023-04-03T19:35:10.733" v="53"/>
          <ac:spMkLst>
            <pc:docMk/>
            <pc:sldMk cId="3537679081" sldId="3537"/>
            <ac:spMk id="3" creationId="{2F58DB89-480F-91C8-FCA9-BEC877FA997D}"/>
          </ac:spMkLst>
        </pc:spChg>
      </pc:sldChg>
      <pc:sldChg chg="addSp modSp modNotesTx">
        <pc:chgData name="Qureshi, Taj F." userId="e19f8f9a-4b04-4f30-b58a-5b568dd505d5" providerId="ADAL" clId="{C06A0FAE-3967-49D2-B01D-4AC79571B42D}" dt="2023-04-13T14:40:03.477" v="70" actId="20577"/>
        <pc:sldMkLst>
          <pc:docMk/>
          <pc:sldMk cId="2053167649" sldId="3539"/>
        </pc:sldMkLst>
        <pc:spChg chg="add mod">
          <ac:chgData name="Qureshi, Taj F." userId="e19f8f9a-4b04-4f30-b58a-5b568dd505d5" providerId="ADAL" clId="{C06A0FAE-3967-49D2-B01D-4AC79571B42D}" dt="2023-04-03T19:35:04.183" v="49"/>
          <ac:spMkLst>
            <pc:docMk/>
            <pc:sldMk cId="2053167649" sldId="3539"/>
            <ac:spMk id="2" creationId="{12182E11-6783-6D46-BAB9-DF88CA6BDCD6}"/>
          </ac:spMkLst>
        </pc:spChg>
      </pc:sldChg>
      <pc:sldChg chg="addSp delSp modSp mod">
        <pc:chgData name="Qureshi, Taj F." userId="e19f8f9a-4b04-4f30-b58a-5b568dd505d5" providerId="ADAL" clId="{C06A0FAE-3967-49D2-B01D-4AC79571B42D}" dt="2023-04-13T14:40:30.798" v="72" actId="14100"/>
        <pc:sldMkLst>
          <pc:docMk/>
          <pc:sldMk cId="3467862585" sldId="3540"/>
        </pc:sldMkLst>
        <pc:spChg chg="add mod">
          <ac:chgData name="Qureshi, Taj F." userId="e19f8f9a-4b04-4f30-b58a-5b568dd505d5" providerId="ADAL" clId="{C06A0FAE-3967-49D2-B01D-4AC79571B42D}" dt="2023-04-03T19:35:12.284" v="54"/>
          <ac:spMkLst>
            <pc:docMk/>
            <pc:sldMk cId="3467862585" sldId="3540"/>
            <ac:spMk id="2" creationId="{34005B0F-71F5-020B-A04A-F41736C5489F}"/>
          </ac:spMkLst>
        </pc:spChg>
        <pc:spChg chg="mod">
          <ac:chgData name="Qureshi, Taj F." userId="e19f8f9a-4b04-4f30-b58a-5b568dd505d5" providerId="ADAL" clId="{C06A0FAE-3967-49D2-B01D-4AC79571B42D}" dt="2023-04-13T14:37:18.895" v="61" actId="113"/>
          <ac:spMkLst>
            <pc:docMk/>
            <pc:sldMk cId="3467862585" sldId="3540"/>
            <ac:spMk id="5" creationId="{4D194D00-D1E6-9962-1887-B5C3C9CCC1B3}"/>
          </ac:spMkLst>
        </pc:spChg>
        <pc:spChg chg="del">
          <ac:chgData name="Qureshi, Taj F." userId="e19f8f9a-4b04-4f30-b58a-5b568dd505d5" providerId="ADAL" clId="{C06A0FAE-3967-49D2-B01D-4AC79571B42D}" dt="2023-04-13T14:36:29.839" v="57" actId="478"/>
          <ac:spMkLst>
            <pc:docMk/>
            <pc:sldMk cId="3467862585" sldId="3540"/>
            <ac:spMk id="6" creationId="{04971F98-3CD7-9A35-5AA8-6718D46E30B2}"/>
          </ac:spMkLst>
        </pc:spChg>
        <pc:spChg chg="del">
          <ac:chgData name="Qureshi, Taj F." userId="e19f8f9a-4b04-4f30-b58a-5b568dd505d5" providerId="ADAL" clId="{C06A0FAE-3967-49D2-B01D-4AC79571B42D}" dt="2023-04-13T14:36:27.768" v="56" actId="478"/>
          <ac:spMkLst>
            <pc:docMk/>
            <pc:sldMk cId="3467862585" sldId="3540"/>
            <ac:spMk id="12" creationId="{E931ECAC-1903-9B4A-925F-095BA5528FD2}"/>
          </ac:spMkLst>
        </pc:spChg>
        <pc:spChg chg="del">
          <ac:chgData name="Qureshi, Taj F." userId="e19f8f9a-4b04-4f30-b58a-5b568dd505d5" providerId="ADAL" clId="{C06A0FAE-3967-49D2-B01D-4AC79571B42D}" dt="2023-04-13T14:36:23.817" v="55" actId="478"/>
          <ac:spMkLst>
            <pc:docMk/>
            <pc:sldMk cId="3467862585" sldId="3540"/>
            <ac:spMk id="13" creationId="{2775D1DB-8625-5301-8570-3B4F1AA57106}"/>
          </ac:spMkLst>
        </pc:spChg>
        <pc:spChg chg="del">
          <ac:chgData name="Qureshi, Taj F." userId="e19f8f9a-4b04-4f30-b58a-5b568dd505d5" providerId="ADAL" clId="{C06A0FAE-3967-49D2-B01D-4AC79571B42D}" dt="2023-04-13T14:36:30.855" v="58" actId="478"/>
          <ac:spMkLst>
            <pc:docMk/>
            <pc:sldMk cId="3467862585" sldId="3540"/>
            <ac:spMk id="14" creationId="{2BF6CCE9-D319-84BD-34AB-369A645C791E}"/>
          </ac:spMkLst>
        </pc:spChg>
        <pc:picChg chg="mod">
          <ac:chgData name="Qureshi, Taj F." userId="e19f8f9a-4b04-4f30-b58a-5b568dd505d5" providerId="ADAL" clId="{C06A0FAE-3967-49D2-B01D-4AC79571B42D}" dt="2023-04-13T14:40:30.798" v="72" actId="14100"/>
          <ac:picMkLst>
            <pc:docMk/>
            <pc:sldMk cId="3467862585" sldId="3540"/>
            <ac:picMk id="10" creationId="{D9962DF7-D6FB-B13B-4F70-D8579CD4C0E1}"/>
          </ac:picMkLst>
        </pc:picChg>
      </pc:sldChg>
    </pc:docChg>
  </pc:docChgLst>
  <pc:docChgLst>
    <pc:chgData name="Vetrano, Nicole" userId="S::nvetrano@bwh.harvard.edu::251ed28a-7cb2-4cc8-a8b7-59519a3d4894" providerId="AD" clId="Web-{81A4B6BB-5810-2E47-D635-BC6B10D7E670}"/>
    <pc:docChg chg="modSld">
      <pc:chgData name="Vetrano, Nicole" userId="S::nvetrano@bwh.harvard.edu::251ed28a-7cb2-4cc8-a8b7-59519a3d4894" providerId="AD" clId="Web-{81A4B6BB-5810-2E47-D635-BC6B10D7E670}" dt="2023-04-13T03:20:59.503" v="132" actId="1076"/>
      <pc:docMkLst>
        <pc:docMk/>
      </pc:docMkLst>
      <pc:sldChg chg="addSp delSp modSp">
        <pc:chgData name="Vetrano, Nicole" userId="S::nvetrano@bwh.harvard.edu::251ed28a-7cb2-4cc8-a8b7-59519a3d4894" providerId="AD" clId="Web-{81A4B6BB-5810-2E47-D635-BC6B10D7E670}" dt="2023-04-13T02:48:51.489" v="50" actId="1076"/>
        <pc:sldMkLst>
          <pc:docMk/>
          <pc:sldMk cId="2663093350" sldId="3369"/>
        </pc:sldMkLst>
        <pc:spChg chg="del">
          <ac:chgData name="Vetrano, Nicole" userId="S::nvetrano@bwh.harvard.edu::251ed28a-7cb2-4cc8-a8b7-59519a3d4894" providerId="AD" clId="Web-{81A4B6BB-5810-2E47-D635-BC6B10D7E670}" dt="2023-04-13T02:36:12.225" v="13"/>
          <ac:spMkLst>
            <pc:docMk/>
            <pc:sldMk cId="2663093350" sldId="3369"/>
            <ac:spMk id="3" creationId="{F2E78A28-40B2-80D3-0F97-B4EB8502830D}"/>
          </ac:spMkLst>
        </pc:spChg>
        <pc:picChg chg="del">
          <ac:chgData name="Vetrano, Nicole" userId="S::nvetrano@bwh.harvard.edu::251ed28a-7cb2-4cc8-a8b7-59519a3d4894" providerId="AD" clId="Web-{81A4B6BB-5810-2E47-D635-BC6B10D7E670}" dt="2023-04-13T02:36:17.491" v="15"/>
          <ac:picMkLst>
            <pc:docMk/>
            <pc:sldMk cId="2663093350" sldId="3369"/>
            <ac:picMk id="2" creationId="{A9496F9E-40A0-F616-A4A8-F352E70DF8F5}"/>
          </ac:picMkLst>
        </pc:picChg>
        <pc:picChg chg="del">
          <ac:chgData name="Vetrano, Nicole" userId="S::nvetrano@bwh.harvard.edu::251ed28a-7cb2-4cc8-a8b7-59519a3d4894" providerId="AD" clId="Web-{81A4B6BB-5810-2E47-D635-BC6B10D7E670}" dt="2023-04-13T02:36:14.741" v="14"/>
          <ac:picMkLst>
            <pc:docMk/>
            <pc:sldMk cId="2663093350" sldId="3369"/>
            <ac:picMk id="5" creationId="{C1ED60C1-C310-6E47-8590-83080295EE12}"/>
          </ac:picMkLst>
        </pc:picChg>
        <pc:picChg chg="add del mod">
          <ac:chgData name="Vetrano, Nicole" userId="S::nvetrano@bwh.harvard.edu::251ed28a-7cb2-4cc8-a8b7-59519a3d4894" providerId="AD" clId="Web-{81A4B6BB-5810-2E47-D635-BC6B10D7E670}" dt="2023-04-13T02:48:01.081" v="46"/>
          <ac:picMkLst>
            <pc:docMk/>
            <pc:sldMk cId="2663093350" sldId="3369"/>
            <ac:picMk id="6" creationId="{BFDDD109-D4EB-1803-9F47-270570A552E9}"/>
          </ac:picMkLst>
        </pc:picChg>
        <pc:picChg chg="add mod">
          <ac:chgData name="Vetrano, Nicole" userId="S::nvetrano@bwh.harvard.edu::251ed28a-7cb2-4cc8-a8b7-59519a3d4894" providerId="AD" clId="Web-{81A4B6BB-5810-2E47-D635-BC6B10D7E670}" dt="2023-04-13T02:42:11.115" v="25" actId="1076"/>
          <ac:picMkLst>
            <pc:docMk/>
            <pc:sldMk cId="2663093350" sldId="3369"/>
            <ac:picMk id="7" creationId="{DDD32821-FF27-8EEC-037E-A260A14D2AE8}"/>
          </ac:picMkLst>
        </pc:picChg>
        <pc:picChg chg="add mod">
          <ac:chgData name="Vetrano, Nicole" userId="S::nvetrano@bwh.harvard.edu::251ed28a-7cb2-4cc8-a8b7-59519a3d4894" providerId="AD" clId="Web-{81A4B6BB-5810-2E47-D635-BC6B10D7E670}" dt="2023-04-13T02:48:51.489" v="50" actId="1076"/>
          <ac:picMkLst>
            <pc:docMk/>
            <pc:sldMk cId="2663093350" sldId="3369"/>
            <ac:picMk id="8" creationId="{0CA0B0CF-4EED-6079-4CB7-3C296450909E}"/>
          </ac:picMkLst>
        </pc:picChg>
      </pc:sldChg>
      <pc:sldChg chg="addSp delSp modSp">
        <pc:chgData name="Vetrano, Nicole" userId="S::nvetrano@bwh.harvard.edu::251ed28a-7cb2-4cc8-a8b7-59519a3d4894" providerId="AD" clId="Web-{81A4B6BB-5810-2E47-D635-BC6B10D7E670}" dt="2023-04-13T02:36:06.444" v="12" actId="1076"/>
        <pc:sldMkLst>
          <pc:docMk/>
          <pc:sldMk cId="427793889" sldId="3388"/>
        </pc:sldMkLst>
        <pc:spChg chg="del">
          <ac:chgData name="Vetrano, Nicole" userId="S::nvetrano@bwh.harvard.edu::251ed28a-7cb2-4cc8-a8b7-59519a3d4894" providerId="AD" clId="Web-{81A4B6BB-5810-2E47-D635-BC6B10D7E670}" dt="2023-04-13T02:32:00.653" v="0"/>
          <ac:spMkLst>
            <pc:docMk/>
            <pc:sldMk cId="427793889" sldId="3388"/>
            <ac:spMk id="4" creationId="{38A9068E-D605-CB46-71C9-E1C0C3BFC8AE}"/>
          </ac:spMkLst>
        </pc:spChg>
        <pc:picChg chg="add mod">
          <ac:chgData name="Vetrano, Nicole" userId="S::nvetrano@bwh.harvard.edu::251ed28a-7cb2-4cc8-a8b7-59519a3d4894" providerId="AD" clId="Web-{81A4B6BB-5810-2E47-D635-BC6B10D7E670}" dt="2023-04-13T02:36:06.444" v="12" actId="1076"/>
          <ac:picMkLst>
            <pc:docMk/>
            <pc:sldMk cId="427793889" sldId="3388"/>
            <ac:picMk id="5" creationId="{819E5339-4F41-B70D-EC82-669917B3EF0B}"/>
          </ac:picMkLst>
        </pc:picChg>
        <pc:picChg chg="del">
          <ac:chgData name="Vetrano, Nicole" userId="S::nvetrano@bwh.harvard.edu::251ed28a-7cb2-4cc8-a8b7-59519a3d4894" providerId="AD" clId="Web-{81A4B6BB-5810-2E47-D635-BC6B10D7E670}" dt="2023-04-13T02:32:02.778" v="1"/>
          <ac:picMkLst>
            <pc:docMk/>
            <pc:sldMk cId="427793889" sldId="3388"/>
            <ac:picMk id="6" creationId="{F2C81E8E-351E-006D-09B9-C7222D682EDE}"/>
          </ac:picMkLst>
        </pc:picChg>
      </pc:sldChg>
      <pc:sldChg chg="addSp delSp modSp">
        <pc:chgData name="Vetrano, Nicole" userId="S::nvetrano@bwh.harvard.edu::251ed28a-7cb2-4cc8-a8b7-59519a3d4894" providerId="AD" clId="Web-{81A4B6BB-5810-2E47-D635-BC6B10D7E670}" dt="2023-04-13T02:52:06.043" v="65" actId="1076"/>
        <pc:sldMkLst>
          <pc:docMk/>
          <pc:sldMk cId="240661228" sldId="3423"/>
        </pc:sldMkLst>
        <pc:spChg chg="del">
          <ac:chgData name="Vetrano, Nicole" userId="S::nvetrano@bwh.harvard.edu::251ed28a-7cb2-4cc8-a8b7-59519a3d4894" providerId="AD" clId="Web-{81A4B6BB-5810-2E47-D635-BC6B10D7E670}" dt="2023-04-13T02:48:56.177" v="51"/>
          <ac:spMkLst>
            <pc:docMk/>
            <pc:sldMk cId="240661228" sldId="3423"/>
            <ac:spMk id="3" creationId="{4D51E603-B756-AFBE-D339-FFCE018B6656}"/>
          </ac:spMkLst>
        </pc:spChg>
        <pc:picChg chg="del">
          <ac:chgData name="Vetrano, Nicole" userId="S::nvetrano@bwh.harvard.edu::251ed28a-7cb2-4cc8-a8b7-59519a3d4894" providerId="AD" clId="Web-{81A4B6BB-5810-2E47-D635-BC6B10D7E670}" dt="2023-04-13T02:50:23.383" v="52"/>
          <ac:picMkLst>
            <pc:docMk/>
            <pc:sldMk cId="240661228" sldId="3423"/>
            <ac:picMk id="2" creationId="{80B533F2-A018-4218-7143-D0A80F5834F8}"/>
          </ac:picMkLst>
        </pc:picChg>
        <pc:picChg chg="add del mod">
          <ac:chgData name="Vetrano, Nicole" userId="S::nvetrano@bwh.harvard.edu::251ed28a-7cb2-4cc8-a8b7-59519a3d4894" providerId="AD" clId="Web-{81A4B6BB-5810-2E47-D635-BC6B10D7E670}" dt="2023-04-13T02:51:30.073" v="62"/>
          <ac:picMkLst>
            <pc:docMk/>
            <pc:sldMk cId="240661228" sldId="3423"/>
            <ac:picMk id="4" creationId="{3A36745C-5FA0-E536-DA49-8A43A7D895E2}"/>
          </ac:picMkLst>
        </pc:picChg>
        <pc:picChg chg="del">
          <ac:chgData name="Vetrano, Nicole" userId="S::nvetrano@bwh.harvard.edu::251ed28a-7cb2-4cc8-a8b7-59519a3d4894" providerId="AD" clId="Web-{81A4B6BB-5810-2E47-D635-BC6B10D7E670}" dt="2023-04-13T02:50:35.821" v="58"/>
          <ac:picMkLst>
            <pc:docMk/>
            <pc:sldMk cId="240661228" sldId="3423"/>
            <ac:picMk id="5" creationId="{B7BCDDBF-E2EA-C96C-6454-0FDE84C0D3AE}"/>
          </ac:picMkLst>
        </pc:picChg>
        <pc:picChg chg="add mod">
          <ac:chgData name="Vetrano, Nicole" userId="S::nvetrano@bwh.harvard.edu::251ed28a-7cb2-4cc8-a8b7-59519a3d4894" providerId="AD" clId="Web-{81A4B6BB-5810-2E47-D635-BC6B10D7E670}" dt="2023-04-13T02:51:02.635" v="60" actId="1076"/>
          <ac:picMkLst>
            <pc:docMk/>
            <pc:sldMk cId="240661228" sldId="3423"/>
            <ac:picMk id="6" creationId="{83C38985-DD16-CB16-3F93-A251FF063120}"/>
          </ac:picMkLst>
        </pc:picChg>
        <pc:picChg chg="add mod">
          <ac:chgData name="Vetrano, Nicole" userId="S::nvetrano@bwh.harvard.edu::251ed28a-7cb2-4cc8-a8b7-59519a3d4894" providerId="AD" clId="Web-{81A4B6BB-5810-2E47-D635-BC6B10D7E670}" dt="2023-04-13T02:52:06.043" v="65" actId="1076"/>
          <ac:picMkLst>
            <pc:docMk/>
            <pc:sldMk cId="240661228" sldId="3423"/>
            <ac:picMk id="7" creationId="{2610C33D-DB2D-1FB3-64DE-4C157DBFCA73}"/>
          </ac:picMkLst>
        </pc:picChg>
      </pc:sldChg>
      <pc:sldChg chg="delSp modSp">
        <pc:chgData name="Vetrano, Nicole" userId="S::nvetrano@bwh.harvard.edu::251ed28a-7cb2-4cc8-a8b7-59519a3d4894" providerId="AD" clId="Web-{81A4B6BB-5810-2E47-D635-BC6B10D7E670}" dt="2023-04-13T02:59:19.497" v="91" actId="20577"/>
        <pc:sldMkLst>
          <pc:docMk/>
          <pc:sldMk cId="2157829121" sldId="3500"/>
        </pc:sldMkLst>
        <pc:spChg chg="del">
          <ac:chgData name="Vetrano, Nicole" userId="S::nvetrano@bwh.harvard.edu::251ed28a-7cb2-4cc8-a8b7-59519a3d4894" providerId="AD" clId="Web-{81A4B6BB-5810-2E47-D635-BC6B10D7E670}" dt="2023-04-13T02:54:14.486" v="74"/>
          <ac:spMkLst>
            <pc:docMk/>
            <pc:sldMk cId="2157829121" sldId="3500"/>
            <ac:spMk id="2" creationId="{CDB18A67-4255-FB56-3A3C-6191E0FF7A95}"/>
          </ac:spMkLst>
        </pc:spChg>
        <pc:spChg chg="mod">
          <ac:chgData name="Vetrano, Nicole" userId="S::nvetrano@bwh.harvard.edu::251ed28a-7cb2-4cc8-a8b7-59519a3d4894" providerId="AD" clId="Web-{81A4B6BB-5810-2E47-D635-BC6B10D7E670}" dt="2023-04-13T02:59:19.497" v="91" actId="20577"/>
          <ac:spMkLst>
            <pc:docMk/>
            <pc:sldMk cId="2157829121" sldId="3500"/>
            <ac:spMk id="3" creationId="{DC1FB5CC-EE33-4D67-A5D0-01136FFFBE11}"/>
          </ac:spMkLst>
        </pc:spChg>
      </pc:sldChg>
      <pc:sldChg chg="addSp delSp modSp">
        <pc:chgData name="Vetrano, Nicole" userId="S::nvetrano@bwh.harvard.edu::251ed28a-7cb2-4cc8-a8b7-59519a3d4894" providerId="AD" clId="Web-{81A4B6BB-5810-2E47-D635-BC6B10D7E670}" dt="2023-04-13T02:54:07.829" v="73" actId="1076"/>
        <pc:sldMkLst>
          <pc:docMk/>
          <pc:sldMk cId="3640228099" sldId="3536"/>
        </pc:sldMkLst>
        <pc:spChg chg="del">
          <ac:chgData name="Vetrano, Nicole" userId="S::nvetrano@bwh.harvard.edu::251ed28a-7cb2-4cc8-a8b7-59519a3d4894" providerId="AD" clId="Web-{81A4B6BB-5810-2E47-D635-BC6B10D7E670}" dt="2023-04-13T02:52:11.247" v="66"/>
          <ac:spMkLst>
            <pc:docMk/>
            <pc:sldMk cId="3640228099" sldId="3536"/>
            <ac:spMk id="2" creationId="{C3290D67-8E55-62DE-5B33-0235CB5BA2C0}"/>
          </ac:spMkLst>
        </pc:spChg>
        <pc:picChg chg="del">
          <ac:chgData name="Vetrano, Nicole" userId="S::nvetrano@bwh.harvard.edu::251ed28a-7cb2-4cc8-a8b7-59519a3d4894" providerId="AD" clId="Web-{81A4B6BB-5810-2E47-D635-BC6B10D7E670}" dt="2023-04-13T02:52:12.684" v="67"/>
          <ac:picMkLst>
            <pc:docMk/>
            <pc:sldMk cId="3640228099" sldId="3536"/>
            <ac:picMk id="3" creationId="{1926E51C-2267-AE99-A0FE-BE5911454C9E}"/>
          </ac:picMkLst>
        </pc:picChg>
        <pc:picChg chg="add mod">
          <ac:chgData name="Vetrano, Nicole" userId="S::nvetrano@bwh.harvard.edu::251ed28a-7cb2-4cc8-a8b7-59519a3d4894" providerId="AD" clId="Web-{81A4B6BB-5810-2E47-D635-BC6B10D7E670}" dt="2023-04-13T02:54:07.829" v="73" actId="1076"/>
          <ac:picMkLst>
            <pc:docMk/>
            <pc:sldMk cId="3640228099" sldId="3536"/>
            <ac:picMk id="5" creationId="{B1BE227F-563D-FD58-18F7-0DBA4F010EA0}"/>
          </ac:picMkLst>
        </pc:picChg>
      </pc:sldChg>
      <pc:sldChg chg="addSp delSp modSp">
        <pc:chgData name="Vetrano, Nicole" userId="S::nvetrano@bwh.harvard.edu::251ed28a-7cb2-4cc8-a8b7-59519a3d4894" providerId="AD" clId="Web-{81A4B6BB-5810-2E47-D635-BC6B10D7E670}" dt="2023-04-13T03:00:30.391" v="99" actId="1076"/>
        <pc:sldMkLst>
          <pc:docMk/>
          <pc:sldMk cId="3537679081" sldId="3537"/>
        </pc:sldMkLst>
        <pc:spChg chg="del">
          <ac:chgData name="Vetrano, Nicole" userId="S::nvetrano@bwh.harvard.edu::251ed28a-7cb2-4cc8-a8b7-59519a3d4894" providerId="AD" clId="Web-{81A4B6BB-5810-2E47-D635-BC6B10D7E670}" dt="2023-04-13T02:59:22.779" v="92"/>
          <ac:spMkLst>
            <pc:docMk/>
            <pc:sldMk cId="3537679081" sldId="3537"/>
            <ac:spMk id="3" creationId="{2F58DB89-480F-91C8-FCA9-BEC877FA997D}"/>
          </ac:spMkLst>
        </pc:spChg>
        <pc:picChg chg="add del">
          <ac:chgData name="Vetrano, Nicole" userId="S::nvetrano@bwh.harvard.edu::251ed28a-7cb2-4cc8-a8b7-59519a3d4894" providerId="AD" clId="Web-{81A4B6BB-5810-2E47-D635-BC6B10D7E670}" dt="2023-04-13T03:00:18.890" v="96"/>
          <ac:picMkLst>
            <pc:docMk/>
            <pc:sldMk cId="3537679081" sldId="3537"/>
            <ac:picMk id="2" creationId="{BE0E3745-376F-95F3-8783-9FCED58C2B91}"/>
          </ac:picMkLst>
        </pc:picChg>
        <pc:picChg chg="add mod">
          <ac:chgData name="Vetrano, Nicole" userId="S::nvetrano@bwh.harvard.edu::251ed28a-7cb2-4cc8-a8b7-59519a3d4894" providerId="AD" clId="Web-{81A4B6BB-5810-2E47-D635-BC6B10D7E670}" dt="2023-04-13T03:00:30.391" v="99" actId="1076"/>
          <ac:picMkLst>
            <pc:docMk/>
            <pc:sldMk cId="3537679081" sldId="3537"/>
            <ac:picMk id="5" creationId="{32CFE688-F6B7-32E7-5FF8-C2FF539DB23B}"/>
          </ac:picMkLst>
        </pc:picChg>
      </pc:sldChg>
      <pc:sldChg chg="addSp delSp modSp">
        <pc:chgData name="Vetrano, Nicole" userId="S::nvetrano@bwh.harvard.edu::251ed28a-7cb2-4cc8-a8b7-59519a3d4894" providerId="AD" clId="Web-{81A4B6BB-5810-2E47-D635-BC6B10D7E670}" dt="2023-04-13T02:47:56.831" v="45" actId="1076"/>
        <pc:sldMkLst>
          <pc:docMk/>
          <pc:sldMk cId="2053167649" sldId="3539"/>
        </pc:sldMkLst>
        <pc:spChg chg="del">
          <ac:chgData name="Vetrano, Nicole" userId="S::nvetrano@bwh.harvard.edu::251ed28a-7cb2-4cc8-a8b7-59519a3d4894" providerId="AD" clId="Web-{81A4B6BB-5810-2E47-D635-BC6B10D7E670}" dt="2023-04-13T02:42:20.849" v="27"/>
          <ac:spMkLst>
            <pc:docMk/>
            <pc:sldMk cId="2053167649" sldId="3539"/>
            <ac:spMk id="2" creationId="{12182E11-6783-6D46-BAB9-DF88CA6BDCD6}"/>
          </ac:spMkLst>
        </pc:spChg>
        <pc:picChg chg="del">
          <ac:chgData name="Vetrano, Nicole" userId="S::nvetrano@bwh.harvard.edu::251ed28a-7cb2-4cc8-a8b7-59519a3d4894" providerId="AD" clId="Web-{81A4B6BB-5810-2E47-D635-BC6B10D7E670}" dt="2023-04-13T02:42:19.443" v="26"/>
          <ac:picMkLst>
            <pc:docMk/>
            <pc:sldMk cId="2053167649" sldId="3539"/>
            <ac:picMk id="3" creationId="{D0918FF5-66C0-DC06-0194-E89D7484FC5C}"/>
          </ac:picMkLst>
        </pc:picChg>
        <pc:picChg chg="del">
          <ac:chgData name="Vetrano, Nicole" userId="S::nvetrano@bwh.harvard.edu::251ed28a-7cb2-4cc8-a8b7-59519a3d4894" providerId="AD" clId="Web-{81A4B6BB-5810-2E47-D635-BC6B10D7E670}" dt="2023-04-13T02:42:21.787" v="28"/>
          <ac:picMkLst>
            <pc:docMk/>
            <pc:sldMk cId="2053167649" sldId="3539"/>
            <ac:picMk id="4" creationId="{B9D2B508-AB33-B2EB-200C-2340FCABD35C}"/>
          </ac:picMkLst>
        </pc:picChg>
        <pc:picChg chg="add del mod">
          <ac:chgData name="Vetrano, Nicole" userId="S::nvetrano@bwh.harvard.edu::251ed28a-7cb2-4cc8-a8b7-59519a3d4894" providerId="AD" clId="Web-{81A4B6BB-5810-2E47-D635-BC6B10D7E670}" dt="2023-04-13T02:44:26.088" v="35"/>
          <ac:picMkLst>
            <pc:docMk/>
            <pc:sldMk cId="2053167649" sldId="3539"/>
            <ac:picMk id="6" creationId="{98251D0C-3467-888D-1292-51D1ADCCBA37}"/>
          </ac:picMkLst>
        </pc:picChg>
        <pc:picChg chg="add del mod">
          <ac:chgData name="Vetrano, Nicole" userId="S::nvetrano@bwh.harvard.edu::251ed28a-7cb2-4cc8-a8b7-59519a3d4894" providerId="AD" clId="Web-{81A4B6BB-5810-2E47-D635-BC6B10D7E670}" dt="2023-04-13T02:47:47.455" v="42"/>
          <ac:picMkLst>
            <pc:docMk/>
            <pc:sldMk cId="2053167649" sldId="3539"/>
            <ac:picMk id="7" creationId="{5CD10219-7401-C54A-349D-106199A5411C}"/>
          </ac:picMkLst>
        </pc:picChg>
        <pc:picChg chg="add mod">
          <ac:chgData name="Vetrano, Nicole" userId="S::nvetrano@bwh.harvard.edu::251ed28a-7cb2-4cc8-a8b7-59519a3d4894" providerId="AD" clId="Web-{81A4B6BB-5810-2E47-D635-BC6B10D7E670}" dt="2023-04-13T02:46:55.891" v="41" actId="1076"/>
          <ac:picMkLst>
            <pc:docMk/>
            <pc:sldMk cId="2053167649" sldId="3539"/>
            <ac:picMk id="8" creationId="{C89D9360-6E2C-0A45-E7B8-8A078A23072D}"/>
          </ac:picMkLst>
        </pc:picChg>
        <pc:picChg chg="add mod">
          <ac:chgData name="Vetrano, Nicole" userId="S::nvetrano@bwh.harvard.edu::251ed28a-7cb2-4cc8-a8b7-59519a3d4894" providerId="AD" clId="Web-{81A4B6BB-5810-2E47-D635-BC6B10D7E670}" dt="2023-04-13T02:47:56.831" v="45" actId="1076"/>
          <ac:picMkLst>
            <pc:docMk/>
            <pc:sldMk cId="2053167649" sldId="3539"/>
            <ac:picMk id="9" creationId="{BFD5E379-00C9-F5FE-4546-5EF3A3BB8875}"/>
          </ac:picMkLst>
        </pc:picChg>
      </pc:sldChg>
      <pc:sldChg chg="addSp delSp modSp">
        <pc:chgData name="Vetrano, Nicole" userId="S::nvetrano@bwh.harvard.edu::251ed28a-7cb2-4cc8-a8b7-59519a3d4894" providerId="AD" clId="Web-{81A4B6BB-5810-2E47-D635-BC6B10D7E670}" dt="2023-04-13T03:20:59.503" v="132" actId="1076"/>
        <pc:sldMkLst>
          <pc:docMk/>
          <pc:sldMk cId="3467862585" sldId="3540"/>
        </pc:sldMkLst>
        <pc:spChg chg="del">
          <ac:chgData name="Vetrano, Nicole" userId="S::nvetrano@bwh.harvard.edu::251ed28a-7cb2-4cc8-a8b7-59519a3d4894" providerId="AD" clId="Web-{81A4B6BB-5810-2E47-D635-BC6B10D7E670}" dt="2023-04-13T03:17:57.607" v="100"/>
          <ac:spMkLst>
            <pc:docMk/>
            <pc:sldMk cId="3467862585" sldId="3540"/>
            <ac:spMk id="2" creationId="{34005B0F-71F5-020B-A04A-F41736C5489F}"/>
          </ac:spMkLst>
        </pc:spChg>
        <pc:spChg chg="mod">
          <ac:chgData name="Vetrano, Nicole" userId="S::nvetrano@bwh.harvard.edu::251ed28a-7cb2-4cc8-a8b7-59519a3d4894" providerId="AD" clId="Web-{81A4B6BB-5810-2E47-D635-BC6B10D7E670}" dt="2023-04-13T03:20:23.252" v="130" actId="14100"/>
          <ac:spMkLst>
            <pc:docMk/>
            <pc:sldMk cId="3467862585" sldId="3540"/>
            <ac:spMk id="12" creationId="{E931ECAC-1903-9B4A-925F-095BA5528FD2}"/>
          </ac:spMkLst>
        </pc:spChg>
        <pc:spChg chg="mod">
          <ac:chgData name="Vetrano, Nicole" userId="S::nvetrano@bwh.harvard.edu::251ed28a-7cb2-4cc8-a8b7-59519a3d4894" providerId="AD" clId="Web-{81A4B6BB-5810-2E47-D635-BC6B10D7E670}" dt="2023-04-13T03:20:20.361" v="129" actId="14100"/>
          <ac:spMkLst>
            <pc:docMk/>
            <pc:sldMk cId="3467862585" sldId="3540"/>
            <ac:spMk id="13" creationId="{2775D1DB-8625-5301-8570-3B4F1AA57106}"/>
          </ac:spMkLst>
        </pc:spChg>
        <pc:picChg chg="del">
          <ac:chgData name="Vetrano, Nicole" userId="S::nvetrano@bwh.harvard.edu::251ed28a-7cb2-4cc8-a8b7-59519a3d4894" providerId="AD" clId="Web-{81A4B6BB-5810-2E47-D635-BC6B10D7E670}" dt="2023-04-13T03:18:00.233" v="101"/>
          <ac:picMkLst>
            <pc:docMk/>
            <pc:sldMk cId="3467862585" sldId="3540"/>
            <ac:picMk id="3" creationId="{1B150AAC-EDBD-0771-A944-36A4009B98FA}"/>
          </ac:picMkLst>
        </pc:picChg>
        <pc:picChg chg="del">
          <ac:chgData name="Vetrano, Nicole" userId="S::nvetrano@bwh.harvard.edu::251ed28a-7cb2-4cc8-a8b7-59519a3d4894" providerId="AD" clId="Web-{81A4B6BB-5810-2E47-D635-BC6B10D7E670}" dt="2023-04-13T03:18:44.031" v="115"/>
          <ac:picMkLst>
            <pc:docMk/>
            <pc:sldMk cId="3467862585" sldId="3540"/>
            <ac:picMk id="4" creationId="{07AA0F58-618F-49DE-95CB-E87396DD74FC}"/>
          </ac:picMkLst>
        </pc:picChg>
        <pc:picChg chg="add del mod ord">
          <ac:chgData name="Vetrano, Nicole" userId="S::nvetrano@bwh.harvard.edu::251ed28a-7cb2-4cc8-a8b7-59519a3d4894" providerId="AD" clId="Web-{81A4B6BB-5810-2E47-D635-BC6B10D7E670}" dt="2023-04-13T03:19:28.704" v="116"/>
          <ac:picMkLst>
            <pc:docMk/>
            <pc:sldMk cId="3467862585" sldId="3540"/>
            <ac:picMk id="7" creationId="{98A07B6C-2BB0-2FE0-2D24-EC5194603823}"/>
          </ac:picMkLst>
        </pc:picChg>
        <pc:picChg chg="add mod ord">
          <ac:chgData name="Vetrano, Nicole" userId="S::nvetrano@bwh.harvard.edu::251ed28a-7cb2-4cc8-a8b7-59519a3d4894" providerId="AD" clId="Web-{81A4B6BB-5810-2E47-D635-BC6B10D7E670}" dt="2023-04-13T03:20:14.142" v="128" actId="1076"/>
          <ac:picMkLst>
            <pc:docMk/>
            <pc:sldMk cId="3467862585" sldId="3540"/>
            <ac:picMk id="10" creationId="{D9962DF7-D6FB-B13B-4F70-D8579CD4C0E1}"/>
          </ac:picMkLst>
        </pc:picChg>
        <pc:picChg chg="add mod">
          <ac:chgData name="Vetrano, Nicole" userId="S::nvetrano@bwh.harvard.edu::251ed28a-7cb2-4cc8-a8b7-59519a3d4894" providerId="AD" clId="Web-{81A4B6BB-5810-2E47-D635-BC6B10D7E670}" dt="2023-04-13T03:20:59.503" v="132" actId="1076"/>
          <ac:picMkLst>
            <pc:docMk/>
            <pc:sldMk cId="3467862585" sldId="3540"/>
            <ac:picMk id="11" creationId="{211ABE33-8462-D5EC-65E7-7A502E58DB15}"/>
          </ac:picMkLst>
        </pc:picChg>
      </pc:sldChg>
    </pc:docChg>
  </pc:docChgLst>
  <pc:docChgLst>
    <pc:chgData name="Vetrano, Nicole" userId="S::nvetrano@bwh.harvard.edu::251ed28a-7cb2-4cc8-a8b7-59519a3d4894" providerId="AD" clId="Web-{D43B2BAC-24AD-48FC-B7CE-B374B4BE29A8}"/>
    <pc:docChg chg="modSld">
      <pc:chgData name="Vetrano, Nicole" userId="S::nvetrano@bwh.harvard.edu::251ed28a-7cb2-4cc8-a8b7-59519a3d4894" providerId="AD" clId="Web-{D43B2BAC-24AD-48FC-B7CE-B374B4BE29A8}" dt="2023-02-02T20:35:53.499" v="23" actId="1076"/>
      <pc:docMkLst>
        <pc:docMk/>
      </pc:docMkLst>
      <pc:sldChg chg="addSp delSp modSp">
        <pc:chgData name="Vetrano, Nicole" userId="S::nvetrano@bwh.harvard.edu::251ed28a-7cb2-4cc8-a8b7-59519a3d4894" providerId="AD" clId="Web-{D43B2BAC-24AD-48FC-B7CE-B374B4BE29A8}" dt="2023-02-02T20:31:38.731" v="6" actId="1076"/>
        <pc:sldMkLst>
          <pc:docMk/>
          <pc:sldMk cId="3537679081" sldId="3537"/>
        </pc:sldMkLst>
        <pc:picChg chg="add mod">
          <ac:chgData name="Vetrano, Nicole" userId="S::nvetrano@bwh.harvard.edu::251ed28a-7cb2-4cc8-a8b7-59519a3d4894" providerId="AD" clId="Web-{D43B2BAC-24AD-48FC-B7CE-B374B4BE29A8}" dt="2023-02-02T20:31:38.731" v="6" actId="1076"/>
          <ac:picMkLst>
            <pc:docMk/>
            <pc:sldMk cId="3537679081" sldId="3537"/>
            <ac:picMk id="2" creationId="{CEEE73C7-19EB-E764-CF55-3558BDF36039}"/>
          </ac:picMkLst>
        </pc:picChg>
        <pc:picChg chg="del">
          <ac:chgData name="Vetrano, Nicole" userId="S::nvetrano@bwh.harvard.edu::251ed28a-7cb2-4cc8-a8b7-59519a3d4894" providerId="AD" clId="Web-{D43B2BAC-24AD-48FC-B7CE-B374B4BE29A8}" dt="2023-02-02T20:31:29.949" v="0"/>
          <ac:picMkLst>
            <pc:docMk/>
            <pc:sldMk cId="3537679081" sldId="3537"/>
            <ac:picMk id="3" creationId="{4906675B-437C-4612-1A01-9EF05F83A474}"/>
          </ac:picMkLst>
        </pc:picChg>
      </pc:sldChg>
      <pc:sldChg chg="addSp delSp modSp">
        <pc:chgData name="Vetrano, Nicole" userId="S::nvetrano@bwh.harvard.edu::251ed28a-7cb2-4cc8-a8b7-59519a3d4894" providerId="AD" clId="Web-{D43B2BAC-24AD-48FC-B7CE-B374B4BE29A8}" dt="2023-02-02T20:35:53.499" v="23" actId="1076"/>
        <pc:sldMkLst>
          <pc:docMk/>
          <pc:sldMk cId="3467862585" sldId="3540"/>
        </pc:sldMkLst>
        <pc:spChg chg="ord">
          <ac:chgData name="Vetrano, Nicole" userId="S::nvetrano@bwh.harvard.edu::251ed28a-7cb2-4cc8-a8b7-59519a3d4894" providerId="AD" clId="Web-{D43B2BAC-24AD-48FC-B7CE-B374B4BE29A8}" dt="2023-02-02T20:35:26.341" v="13"/>
          <ac:spMkLst>
            <pc:docMk/>
            <pc:sldMk cId="3467862585" sldId="3540"/>
            <ac:spMk id="6" creationId="{04971F98-3CD7-9A35-5AA8-6718D46E30B2}"/>
          </ac:spMkLst>
        </pc:spChg>
        <pc:spChg chg="del">
          <ac:chgData name="Vetrano, Nicole" userId="S::nvetrano@bwh.harvard.edu::251ed28a-7cb2-4cc8-a8b7-59519a3d4894" providerId="AD" clId="Web-{D43B2BAC-24AD-48FC-B7CE-B374B4BE29A8}" dt="2023-02-02T20:31:42.591" v="7"/>
          <ac:spMkLst>
            <pc:docMk/>
            <pc:sldMk cId="3467862585" sldId="3540"/>
            <ac:spMk id="10" creationId="{89FEFBF8-FB61-4F8A-814C-0FD99640E030}"/>
          </ac:spMkLst>
        </pc:spChg>
        <pc:spChg chg="mod">
          <ac:chgData name="Vetrano, Nicole" userId="S::nvetrano@bwh.harvard.edu::251ed28a-7cb2-4cc8-a8b7-59519a3d4894" providerId="AD" clId="Web-{D43B2BAC-24AD-48FC-B7CE-B374B4BE29A8}" dt="2023-02-02T20:35:53.499" v="23" actId="1076"/>
          <ac:spMkLst>
            <pc:docMk/>
            <pc:sldMk cId="3467862585" sldId="3540"/>
            <ac:spMk id="12" creationId="{E931ECAC-1903-9B4A-925F-095BA5528FD2}"/>
          </ac:spMkLst>
        </pc:spChg>
        <pc:spChg chg="mod">
          <ac:chgData name="Vetrano, Nicole" userId="S::nvetrano@bwh.harvard.edu::251ed28a-7cb2-4cc8-a8b7-59519a3d4894" providerId="AD" clId="Web-{D43B2BAC-24AD-48FC-B7CE-B374B4BE29A8}" dt="2023-02-02T20:35:48.749" v="22" actId="1076"/>
          <ac:spMkLst>
            <pc:docMk/>
            <pc:sldMk cId="3467862585" sldId="3540"/>
            <ac:spMk id="13" creationId="{2775D1DB-8625-5301-8570-3B4F1AA57106}"/>
          </ac:spMkLst>
        </pc:spChg>
        <pc:picChg chg="del">
          <ac:chgData name="Vetrano, Nicole" userId="S::nvetrano@bwh.harvard.edu::251ed28a-7cb2-4cc8-a8b7-59519a3d4894" providerId="AD" clId="Web-{D43B2BAC-24AD-48FC-B7CE-B374B4BE29A8}" dt="2023-02-02T20:31:45.060" v="8"/>
          <ac:picMkLst>
            <pc:docMk/>
            <pc:sldMk cId="3467862585" sldId="3540"/>
            <ac:picMk id="2" creationId="{BC9D297E-B7AF-9F93-7D8A-6025F300AFCB}"/>
          </ac:picMkLst>
        </pc:picChg>
        <pc:picChg chg="add mod ord">
          <ac:chgData name="Vetrano, Nicole" userId="S::nvetrano@bwh.harvard.edu::251ed28a-7cb2-4cc8-a8b7-59519a3d4894" providerId="AD" clId="Web-{D43B2BAC-24AD-48FC-B7CE-B374B4BE29A8}" dt="2023-02-02T20:35:43.639" v="21" actId="14100"/>
          <ac:picMkLst>
            <pc:docMk/>
            <pc:sldMk cId="3467862585" sldId="3540"/>
            <ac:picMk id="3" creationId="{80005DCD-44F6-90C0-BDFB-08EAE0F05F11}"/>
          </ac:picMkLst>
        </pc:picChg>
      </pc:sldChg>
    </pc:docChg>
  </pc:docChgLst>
  <pc:docChgLst>
    <pc:chgData name="Qureshi, Taj F." userId="e19f8f9a-4b04-4f30-b58a-5b568dd505d5" providerId="ADAL" clId="{20E874AA-CF2D-5A4C-B721-BDA41BC200D4}"/>
    <pc:docChg chg="">
      <pc:chgData name="Qureshi, Taj F." userId="e19f8f9a-4b04-4f30-b58a-5b568dd505d5" providerId="ADAL" clId="{20E874AA-CF2D-5A4C-B721-BDA41BC200D4}" dt="2023-02-06T22:53:32.398" v="6"/>
      <pc:docMkLst>
        <pc:docMk/>
      </pc:docMkLst>
      <pc:sldChg chg="delCm">
        <pc:chgData name="Qureshi, Taj F." userId="e19f8f9a-4b04-4f30-b58a-5b568dd505d5" providerId="ADAL" clId="{20E874AA-CF2D-5A4C-B721-BDA41BC200D4}" dt="2023-02-06T22:53:01.280" v="2"/>
        <pc:sldMkLst>
          <pc:docMk/>
          <pc:sldMk cId="2663093350" sldId="3369"/>
        </pc:sldMkLst>
      </pc:sldChg>
      <pc:sldChg chg="delCm">
        <pc:chgData name="Qureshi, Taj F." userId="e19f8f9a-4b04-4f30-b58a-5b568dd505d5" providerId="ADAL" clId="{20E874AA-CF2D-5A4C-B721-BDA41BC200D4}" dt="2023-02-06T22:52:35.794" v="0"/>
        <pc:sldMkLst>
          <pc:docMk/>
          <pc:sldMk cId="427793889" sldId="3388"/>
        </pc:sldMkLst>
      </pc:sldChg>
      <pc:sldChg chg="delCm">
        <pc:chgData name="Qureshi, Taj F." userId="e19f8f9a-4b04-4f30-b58a-5b568dd505d5" providerId="ADAL" clId="{20E874AA-CF2D-5A4C-B721-BDA41BC200D4}" dt="2023-02-06T22:53:12.014" v="3"/>
        <pc:sldMkLst>
          <pc:docMk/>
          <pc:sldMk cId="240661228" sldId="3423"/>
        </pc:sldMkLst>
      </pc:sldChg>
      <pc:sldChg chg="delCm">
        <pc:chgData name="Qureshi, Taj F." userId="e19f8f9a-4b04-4f30-b58a-5b568dd505d5" providerId="ADAL" clId="{20E874AA-CF2D-5A4C-B721-BDA41BC200D4}" dt="2023-02-06T22:53:18.146" v="4"/>
        <pc:sldMkLst>
          <pc:docMk/>
          <pc:sldMk cId="3640228099" sldId="3536"/>
        </pc:sldMkLst>
      </pc:sldChg>
      <pc:sldChg chg="delCm">
        <pc:chgData name="Qureshi, Taj F." userId="e19f8f9a-4b04-4f30-b58a-5b568dd505d5" providerId="ADAL" clId="{20E874AA-CF2D-5A4C-B721-BDA41BC200D4}" dt="2023-02-06T22:53:25.583" v="5"/>
        <pc:sldMkLst>
          <pc:docMk/>
          <pc:sldMk cId="3537679081" sldId="3537"/>
        </pc:sldMkLst>
      </pc:sldChg>
      <pc:sldChg chg="delCm">
        <pc:chgData name="Qureshi, Taj F." userId="e19f8f9a-4b04-4f30-b58a-5b568dd505d5" providerId="ADAL" clId="{20E874AA-CF2D-5A4C-B721-BDA41BC200D4}" dt="2023-02-06T22:52:55.262" v="1"/>
        <pc:sldMkLst>
          <pc:docMk/>
          <pc:sldMk cId="2053167649" sldId="3539"/>
        </pc:sldMkLst>
      </pc:sldChg>
      <pc:sldChg chg="delCm">
        <pc:chgData name="Qureshi, Taj F." userId="e19f8f9a-4b04-4f30-b58a-5b568dd505d5" providerId="ADAL" clId="{20E874AA-CF2D-5A4C-B721-BDA41BC200D4}" dt="2023-02-06T22:53:32.398" v="6"/>
        <pc:sldMkLst>
          <pc:docMk/>
          <pc:sldMk cId="3467862585" sldId="3540"/>
        </pc:sldMkLst>
      </pc:sldChg>
    </pc:docChg>
  </pc:docChgLst>
  <pc:docChgLst>
    <pc:chgData name="Khorasani, Ramin,MD, MPH" userId="0bd12826-d0b1-443c-9abd-f4360185d75c" providerId="ADAL" clId="{DA22B2AC-59FD-0049-A0D5-0F999BACE04D}"/>
    <pc:docChg chg="undo custSel addSld delSld modSld sldOrd">
      <pc:chgData name="Khorasani, Ramin,MD, MPH" userId="0bd12826-d0b1-443c-9abd-f4360185d75c" providerId="ADAL" clId="{DA22B2AC-59FD-0049-A0D5-0F999BACE04D}" dt="2022-12-14T01:58:52.424" v="1649" actId="478"/>
      <pc:docMkLst>
        <pc:docMk/>
      </pc:docMkLst>
      <pc:sldChg chg="modSp mod">
        <pc:chgData name="Khorasani, Ramin,MD, MPH" userId="0bd12826-d0b1-443c-9abd-f4360185d75c" providerId="ADAL" clId="{DA22B2AC-59FD-0049-A0D5-0F999BACE04D}" dt="2022-12-14T01:55:56.914" v="1571" actId="20577"/>
        <pc:sldMkLst>
          <pc:docMk/>
          <pc:sldMk cId="1635790025" sldId="3340"/>
        </pc:sldMkLst>
        <pc:graphicFrameChg chg="mod modGraphic">
          <ac:chgData name="Khorasani, Ramin,MD, MPH" userId="0bd12826-d0b1-443c-9abd-f4360185d75c" providerId="ADAL" clId="{DA22B2AC-59FD-0049-A0D5-0F999BACE04D}" dt="2022-12-14T01:55:56.914" v="1571" actId="20577"/>
          <ac:graphicFrameMkLst>
            <pc:docMk/>
            <pc:sldMk cId="1635790025" sldId="3340"/>
            <ac:graphicFrameMk id="4" creationId="{9206FA14-07A6-4D4F-8AD6-A1AE43D08CD3}"/>
          </ac:graphicFrameMkLst>
        </pc:graphicFrameChg>
      </pc:sldChg>
      <pc:sldChg chg="add del">
        <pc:chgData name="Khorasani, Ramin,MD, MPH" userId="0bd12826-d0b1-443c-9abd-f4360185d75c" providerId="ADAL" clId="{DA22B2AC-59FD-0049-A0D5-0F999BACE04D}" dt="2022-12-14T01:38:45.412" v="523" actId="2696"/>
        <pc:sldMkLst>
          <pc:docMk/>
          <pc:sldMk cId="819756584" sldId="3361"/>
        </pc:sldMkLst>
      </pc:sldChg>
      <pc:sldChg chg="add del">
        <pc:chgData name="Khorasani, Ramin,MD, MPH" userId="0bd12826-d0b1-443c-9abd-f4360185d75c" providerId="ADAL" clId="{DA22B2AC-59FD-0049-A0D5-0F999BACE04D}" dt="2022-12-14T01:34:12.718" v="203" actId="2696"/>
        <pc:sldMkLst>
          <pc:docMk/>
          <pc:sldMk cId="1323212123" sldId="3375"/>
        </pc:sldMkLst>
      </pc:sldChg>
      <pc:sldChg chg="delSp modSp mod">
        <pc:chgData name="Khorasani, Ramin,MD, MPH" userId="0bd12826-d0b1-443c-9abd-f4360185d75c" providerId="ADAL" clId="{DA22B2AC-59FD-0049-A0D5-0F999BACE04D}" dt="2022-12-14T01:25:02.047" v="120" actId="20577"/>
        <pc:sldMkLst>
          <pc:docMk/>
          <pc:sldMk cId="120485571" sldId="3541"/>
        </pc:sldMkLst>
        <pc:spChg chg="mod">
          <ac:chgData name="Khorasani, Ramin,MD, MPH" userId="0bd12826-d0b1-443c-9abd-f4360185d75c" providerId="ADAL" clId="{DA22B2AC-59FD-0049-A0D5-0F999BACE04D}" dt="2022-12-14T01:25:02.047" v="120" actId="20577"/>
          <ac:spMkLst>
            <pc:docMk/>
            <pc:sldMk cId="120485571" sldId="3541"/>
            <ac:spMk id="3" creationId="{D61F36F4-2552-4BC8-AC3E-105160EA0A01}"/>
          </ac:spMkLst>
        </pc:spChg>
        <pc:spChg chg="del">
          <ac:chgData name="Khorasani, Ramin,MD, MPH" userId="0bd12826-d0b1-443c-9abd-f4360185d75c" providerId="ADAL" clId="{DA22B2AC-59FD-0049-A0D5-0F999BACE04D}" dt="2022-12-14T01:24:09.221" v="12" actId="478"/>
          <ac:spMkLst>
            <pc:docMk/>
            <pc:sldMk cId="120485571" sldId="3541"/>
            <ac:spMk id="4" creationId="{BA887EDC-4C85-4184-AE40-72F93C6746D7}"/>
          </ac:spMkLst>
        </pc:spChg>
      </pc:sldChg>
      <pc:sldChg chg="delSp modSp mod">
        <pc:chgData name="Khorasani, Ramin,MD, MPH" userId="0bd12826-d0b1-443c-9abd-f4360185d75c" providerId="ADAL" clId="{DA22B2AC-59FD-0049-A0D5-0F999BACE04D}" dt="2022-12-14T01:55:13.803" v="1551" actId="12"/>
        <pc:sldMkLst>
          <pc:docMk/>
          <pc:sldMk cId="2630021636" sldId="3542"/>
        </pc:sldMkLst>
        <pc:spChg chg="mod">
          <ac:chgData name="Khorasani, Ramin,MD, MPH" userId="0bd12826-d0b1-443c-9abd-f4360185d75c" providerId="ADAL" clId="{DA22B2AC-59FD-0049-A0D5-0F999BACE04D}" dt="2022-12-14T01:54:59.225" v="1547" actId="1076"/>
          <ac:spMkLst>
            <pc:docMk/>
            <pc:sldMk cId="2630021636" sldId="3542"/>
            <ac:spMk id="2" creationId="{610FD752-A3C1-4064-B9B1-CBBD738CCE3B}"/>
          </ac:spMkLst>
        </pc:spChg>
        <pc:spChg chg="mod">
          <ac:chgData name="Khorasani, Ramin,MD, MPH" userId="0bd12826-d0b1-443c-9abd-f4360185d75c" providerId="ADAL" clId="{DA22B2AC-59FD-0049-A0D5-0F999BACE04D}" dt="2022-12-14T01:55:13.803" v="1551" actId="12"/>
          <ac:spMkLst>
            <pc:docMk/>
            <pc:sldMk cId="2630021636" sldId="3542"/>
            <ac:spMk id="3" creationId="{D61F36F4-2552-4BC8-AC3E-105160EA0A01}"/>
          </ac:spMkLst>
        </pc:spChg>
        <pc:spChg chg="del">
          <ac:chgData name="Khorasani, Ramin,MD, MPH" userId="0bd12826-d0b1-443c-9abd-f4360185d75c" providerId="ADAL" clId="{DA22B2AC-59FD-0049-A0D5-0F999BACE04D}" dt="2022-12-14T01:43:39.416" v="923" actId="478"/>
          <ac:spMkLst>
            <pc:docMk/>
            <pc:sldMk cId="2630021636" sldId="3542"/>
            <ac:spMk id="4" creationId="{05910842-7BEC-4461-B063-E810A7FF78F4}"/>
          </ac:spMkLst>
        </pc:spChg>
      </pc:sldChg>
      <pc:sldChg chg="addSp delSp modSp mod modClrScheme chgLayout">
        <pc:chgData name="Khorasani, Ramin,MD, MPH" userId="0bd12826-d0b1-443c-9abd-f4360185d75c" providerId="ADAL" clId="{DA22B2AC-59FD-0049-A0D5-0F999BACE04D}" dt="2022-12-14T01:58:52.424" v="1649" actId="478"/>
        <pc:sldMkLst>
          <pc:docMk/>
          <pc:sldMk cId="912903528" sldId="3544"/>
        </pc:sldMkLst>
        <pc:spChg chg="del">
          <ac:chgData name="Khorasani, Ramin,MD, MPH" userId="0bd12826-d0b1-443c-9abd-f4360185d75c" providerId="ADAL" clId="{DA22B2AC-59FD-0049-A0D5-0F999BACE04D}" dt="2022-12-14T01:58:52.424" v="1649" actId="478"/>
          <ac:spMkLst>
            <pc:docMk/>
            <pc:sldMk cId="912903528" sldId="3544"/>
            <ac:spMk id="2" creationId="{610FD752-A3C1-4064-B9B1-CBBD738CCE3B}"/>
          </ac:spMkLst>
        </pc:spChg>
        <pc:spChg chg="mod">
          <ac:chgData name="Khorasani, Ramin,MD, MPH" userId="0bd12826-d0b1-443c-9abd-f4360185d75c" providerId="ADAL" clId="{DA22B2AC-59FD-0049-A0D5-0F999BACE04D}" dt="2022-12-14T01:56:57.928" v="1588" actId="20577"/>
          <ac:spMkLst>
            <pc:docMk/>
            <pc:sldMk cId="912903528" sldId="3544"/>
            <ac:spMk id="3" creationId="{D61F36F4-2552-4BC8-AC3E-105160EA0A01}"/>
          </ac:spMkLst>
        </pc:spChg>
        <pc:spChg chg="del">
          <ac:chgData name="Khorasani, Ramin,MD, MPH" userId="0bd12826-d0b1-443c-9abd-f4360185d75c" providerId="ADAL" clId="{DA22B2AC-59FD-0049-A0D5-0F999BACE04D}" dt="2022-12-14T01:56:52.807" v="1587" actId="478"/>
          <ac:spMkLst>
            <pc:docMk/>
            <pc:sldMk cId="912903528" sldId="3544"/>
            <ac:spMk id="4" creationId="{62179D6C-65D9-4B05-857B-DCC8F59DB416}"/>
          </ac:spMkLst>
        </pc:spChg>
        <pc:spChg chg="add del mod ord">
          <ac:chgData name="Khorasani, Ramin,MD, MPH" userId="0bd12826-d0b1-443c-9abd-f4360185d75c" providerId="ADAL" clId="{DA22B2AC-59FD-0049-A0D5-0F999BACE04D}" dt="2022-12-14T01:57:23.603" v="1590" actId="478"/>
          <ac:spMkLst>
            <pc:docMk/>
            <pc:sldMk cId="912903528" sldId="3544"/>
            <ac:spMk id="5" creationId="{AE538A50-C1B0-6D70-DB16-47866793CE9A}"/>
          </ac:spMkLst>
        </pc:spChg>
        <pc:spChg chg="add del mod ord">
          <ac:chgData name="Khorasani, Ramin,MD, MPH" userId="0bd12826-d0b1-443c-9abd-f4360185d75c" providerId="ADAL" clId="{DA22B2AC-59FD-0049-A0D5-0F999BACE04D}" dt="2022-12-14T01:57:46.786" v="1591" actId="700"/>
          <ac:spMkLst>
            <pc:docMk/>
            <pc:sldMk cId="912903528" sldId="3544"/>
            <ac:spMk id="6" creationId="{04553E06-0788-E461-C442-ED7DD64FE26E}"/>
          </ac:spMkLst>
        </pc:spChg>
        <pc:spChg chg="add del mod ord">
          <ac:chgData name="Khorasani, Ramin,MD, MPH" userId="0bd12826-d0b1-443c-9abd-f4360185d75c" providerId="ADAL" clId="{DA22B2AC-59FD-0049-A0D5-0F999BACE04D}" dt="2022-12-14T01:57:46.786" v="1591" actId="700"/>
          <ac:spMkLst>
            <pc:docMk/>
            <pc:sldMk cId="912903528" sldId="3544"/>
            <ac:spMk id="7" creationId="{2C6049CD-B62B-D770-096A-FC1A9CE15D08}"/>
          </ac:spMkLst>
        </pc:spChg>
        <pc:spChg chg="add mod ord">
          <ac:chgData name="Khorasani, Ramin,MD, MPH" userId="0bd12826-d0b1-443c-9abd-f4360185d75c" providerId="ADAL" clId="{DA22B2AC-59FD-0049-A0D5-0F999BACE04D}" dt="2022-12-14T01:58:28.029" v="1646" actId="27636"/>
          <ac:spMkLst>
            <pc:docMk/>
            <pc:sldMk cId="912903528" sldId="3544"/>
            <ac:spMk id="8" creationId="{60FBF61E-527F-E6F6-E7E0-7446224D3177}"/>
          </ac:spMkLst>
        </pc:spChg>
        <pc:spChg chg="add mod ord">
          <ac:chgData name="Khorasani, Ramin,MD, MPH" userId="0bd12826-d0b1-443c-9abd-f4360185d75c" providerId="ADAL" clId="{DA22B2AC-59FD-0049-A0D5-0F999BACE04D}" dt="2022-12-14T01:58:42.606" v="1648" actId="20577"/>
          <ac:spMkLst>
            <pc:docMk/>
            <pc:sldMk cId="912903528" sldId="3544"/>
            <ac:spMk id="9" creationId="{CB0B646A-92EE-5FBC-F193-55784A660666}"/>
          </ac:spMkLst>
        </pc:spChg>
      </pc:sldChg>
      <pc:sldChg chg="delSp modSp mod ord">
        <pc:chgData name="Khorasani, Ramin,MD, MPH" userId="0bd12826-d0b1-443c-9abd-f4360185d75c" providerId="ADAL" clId="{DA22B2AC-59FD-0049-A0D5-0F999BACE04D}" dt="2022-12-14T01:56:29.960" v="1586" actId="20577"/>
        <pc:sldMkLst>
          <pc:docMk/>
          <pc:sldMk cId="2961781329" sldId="3545"/>
        </pc:sldMkLst>
        <pc:spChg chg="mod">
          <ac:chgData name="Khorasani, Ramin,MD, MPH" userId="0bd12826-d0b1-443c-9abd-f4360185d75c" providerId="ADAL" clId="{DA22B2AC-59FD-0049-A0D5-0F999BACE04D}" dt="2022-12-14T01:56:29.960" v="1586" actId="20577"/>
          <ac:spMkLst>
            <pc:docMk/>
            <pc:sldMk cId="2961781329" sldId="3545"/>
            <ac:spMk id="2" creationId="{610FD752-A3C1-4064-B9B1-CBBD738CCE3B}"/>
          </ac:spMkLst>
        </pc:spChg>
        <pc:spChg chg="mod">
          <ac:chgData name="Khorasani, Ramin,MD, MPH" userId="0bd12826-d0b1-443c-9abd-f4360185d75c" providerId="ADAL" clId="{DA22B2AC-59FD-0049-A0D5-0F999BACE04D}" dt="2022-12-14T01:40:05.931" v="600" actId="20577"/>
          <ac:spMkLst>
            <pc:docMk/>
            <pc:sldMk cId="2961781329" sldId="3545"/>
            <ac:spMk id="3" creationId="{D61F36F4-2552-4BC8-AC3E-105160EA0A01}"/>
          </ac:spMkLst>
        </pc:spChg>
        <pc:spChg chg="del">
          <ac:chgData name="Khorasani, Ramin,MD, MPH" userId="0bd12826-d0b1-443c-9abd-f4360185d75c" providerId="ADAL" clId="{DA22B2AC-59FD-0049-A0D5-0F999BACE04D}" dt="2022-12-14T01:39:17.102" v="524" actId="478"/>
          <ac:spMkLst>
            <pc:docMk/>
            <pc:sldMk cId="2961781329" sldId="3545"/>
            <ac:spMk id="4" creationId="{05910842-7BEC-4461-B063-E810A7FF78F4}"/>
          </ac:spMkLst>
        </pc:spChg>
      </pc:sldChg>
      <pc:sldChg chg="add del">
        <pc:chgData name="Khorasani, Ramin,MD, MPH" userId="0bd12826-d0b1-443c-9abd-f4360185d75c" providerId="ADAL" clId="{DA22B2AC-59FD-0049-A0D5-0F999BACE04D}" dt="2022-12-14T01:34:14.447" v="204" actId="2696"/>
        <pc:sldMkLst>
          <pc:docMk/>
          <pc:sldMk cId="2174832078" sldId="2145705156"/>
        </pc:sldMkLst>
      </pc:sldChg>
      <pc:sldChg chg="add del">
        <pc:chgData name="Khorasani, Ramin,MD, MPH" userId="0bd12826-d0b1-443c-9abd-f4360185d75c" providerId="ADAL" clId="{DA22B2AC-59FD-0049-A0D5-0F999BACE04D}" dt="2022-12-14T01:31:59.032" v="187" actId="2696"/>
        <pc:sldMkLst>
          <pc:docMk/>
          <pc:sldMk cId="953442419" sldId="2145705159"/>
        </pc:sldMkLst>
      </pc:sldChg>
      <pc:sldChg chg="add del">
        <pc:chgData name="Khorasani, Ramin,MD, MPH" userId="0bd12826-d0b1-443c-9abd-f4360185d75c" providerId="ADAL" clId="{DA22B2AC-59FD-0049-A0D5-0F999BACE04D}" dt="2022-12-14T01:34:17.969" v="207" actId="2696"/>
        <pc:sldMkLst>
          <pc:docMk/>
          <pc:sldMk cId="2659795567" sldId="2145705163"/>
        </pc:sldMkLst>
      </pc:sldChg>
      <pc:sldChg chg="add del">
        <pc:chgData name="Khorasani, Ramin,MD, MPH" userId="0bd12826-d0b1-443c-9abd-f4360185d75c" providerId="ADAL" clId="{DA22B2AC-59FD-0049-A0D5-0F999BACE04D}" dt="2022-12-14T01:34:15.804" v="205" actId="2696"/>
        <pc:sldMkLst>
          <pc:docMk/>
          <pc:sldMk cId="197164609" sldId="2145705164"/>
        </pc:sldMkLst>
      </pc:sldChg>
      <pc:sldChg chg="modSp add mod">
        <pc:chgData name="Khorasani, Ramin,MD, MPH" userId="0bd12826-d0b1-443c-9abd-f4360185d75c" providerId="ADAL" clId="{DA22B2AC-59FD-0049-A0D5-0F999BACE04D}" dt="2022-12-14T01:33:58.437" v="202" actId="13926"/>
        <pc:sldMkLst>
          <pc:docMk/>
          <pc:sldMk cId="1566641004" sldId="2145705166"/>
        </pc:sldMkLst>
        <pc:spChg chg="mod">
          <ac:chgData name="Khorasani, Ramin,MD, MPH" userId="0bd12826-d0b1-443c-9abd-f4360185d75c" providerId="ADAL" clId="{DA22B2AC-59FD-0049-A0D5-0F999BACE04D}" dt="2022-12-14T01:33:58.437" v="202" actId="13926"/>
          <ac:spMkLst>
            <pc:docMk/>
            <pc:sldMk cId="1566641004" sldId="2145705166"/>
            <ac:spMk id="4" creationId="{BA62666C-76FB-4202-9E29-AEB09755B0DD}"/>
          </ac:spMkLst>
        </pc:spChg>
      </pc:sldChg>
      <pc:sldChg chg="add">
        <pc:chgData name="Khorasani, Ramin,MD, MPH" userId="0bd12826-d0b1-443c-9abd-f4360185d75c" providerId="ADAL" clId="{DA22B2AC-59FD-0049-A0D5-0F999BACE04D}" dt="2022-12-14T01:30:46.116" v="122"/>
        <pc:sldMkLst>
          <pc:docMk/>
          <pc:sldMk cId="3788814392" sldId="2145705169"/>
        </pc:sldMkLst>
      </pc:sldChg>
      <pc:sldChg chg="add del">
        <pc:chgData name="Khorasani, Ramin,MD, MPH" userId="0bd12826-d0b1-443c-9abd-f4360185d75c" providerId="ADAL" clId="{DA22B2AC-59FD-0049-A0D5-0F999BACE04D}" dt="2022-12-14T01:32:03.610" v="188" actId="2696"/>
        <pc:sldMkLst>
          <pc:docMk/>
          <pc:sldMk cId="2865561932" sldId="2145705173"/>
        </pc:sldMkLst>
      </pc:sldChg>
      <pc:sldChg chg="add del">
        <pc:chgData name="Khorasani, Ramin,MD, MPH" userId="0bd12826-d0b1-443c-9abd-f4360185d75c" providerId="ADAL" clId="{DA22B2AC-59FD-0049-A0D5-0F999BACE04D}" dt="2022-12-14T01:33:05.223" v="197" actId="2696"/>
        <pc:sldMkLst>
          <pc:docMk/>
          <pc:sldMk cId="2263237144" sldId="2145705174"/>
        </pc:sldMkLst>
      </pc:sldChg>
      <pc:sldChg chg="add del">
        <pc:chgData name="Khorasani, Ramin,MD, MPH" userId="0bd12826-d0b1-443c-9abd-f4360185d75c" providerId="ADAL" clId="{DA22B2AC-59FD-0049-A0D5-0F999BACE04D}" dt="2022-12-14T01:33:17.235" v="198" actId="2696"/>
        <pc:sldMkLst>
          <pc:docMk/>
          <pc:sldMk cId="3971516243" sldId="2145705175"/>
        </pc:sldMkLst>
      </pc:sldChg>
      <pc:sldChg chg="add del">
        <pc:chgData name="Khorasani, Ramin,MD, MPH" userId="0bd12826-d0b1-443c-9abd-f4360185d75c" providerId="ADAL" clId="{DA22B2AC-59FD-0049-A0D5-0F999BACE04D}" dt="2022-12-14T01:33:20.263" v="199" actId="2696"/>
        <pc:sldMkLst>
          <pc:docMk/>
          <pc:sldMk cId="1653783555" sldId="2145705176"/>
        </pc:sldMkLst>
      </pc:sldChg>
      <pc:sldChg chg="add del">
        <pc:chgData name="Khorasani, Ramin,MD, MPH" userId="0bd12826-d0b1-443c-9abd-f4360185d75c" providerId="ADAL" clId="{DA22B2AC-59FD-0049-A0D5-0F999BACE04D}" dt="2022-12-14T01:33:22.091" v="200" actId="2696"/>
        <pc:sldMkLst>
          <pc:docMk/>
          <pc:sldMk cId="1051956617" sldId="2145705177"/>
        </pc:sldMkLst>
      </pc:sldChg>
      <pc:sldChg chg="add del">
        <pc:chgData name="Khorasani, Ramin,MD, MPH" userId="0bd12826-d0b1-443c-9abd-f4360185d75c" providerId="ADAL" clId="{DA22B2AC-59FD-0049-A0D5-0F999BACE04D}" dt="2022-12-14T01:33:25.429" v="201" actId="2696"/>
        <pc:sldMkLst>
          <pc:docMk/>
          <pc:sldMk cId="1154535911" sldId="2145705179"/>
        </pc:sldMkLst>
      </pc:sldChg>
      <pc:sldChg chg="add del">
        <pc:chgData name="Khorasani, Ramin,MD, MPH" userId="0bd12826-d0b1-443c-9abd-f4360185d75c" providerId="ADAL" clId="{DA22B2AC-59FD-0049-A0D5-0F999BACE04D}" dt="2022-12-14T01:34:16.598" v="206" actId="2696"/>
        <pc:sldMkLst>
          <pc:docMk/>
          <pc:sldMk cId="3118562909" sldId="2145705195"/>
        </pc:sldMkLst>
      </pc:sldChg>
      <pc:sldChg chg="add">
        <pc:chgData name="Khorasani, Ramin,MD, MPH" userId="0bd12826-d0b1-443c-9abd-f4360185d75c" providerId="ADAL" clId="{DA22B2AC-59FD-0049-A0D5-0F999BACE04D}" dt="2022-12-14T01:30:46.116" v="122"/>
        <pc:sldMkLst>
          <pc:docMk/>
          <pc:sldMk cId="2364308638" sldId="2145705197"/>
        </pc:sldMkLst>
      </pc:sldChg>
      <pc:sldChg chg="modSp add mod">
        <pc:chgData name="Khorasani, Ramin,MD, MPH" userId="0bd12826-d0b1-443c-9abd-f4360185d75c" providerId="ADAL" clId="{DA22B2AC-59FD-0049-A0D5-0F999BACE04D}" dt="2022-12-14T01:32:22.265" v="195" actId="20577"/>
        <pc:sldMkLst>
          <pc:docMk/>
          <pc:sldMk cId="1008298659" sldId="2145705198"/>
        </pc:sldMkLst>
        <pc:spChg chg="mod">
          <ac:chgData name="Khorasani, Ramin,MD, MPH" userId="0bd12826-d0b1-443c-9abd-f4360185d75c" providerId="ADAL" clId="{DA22B2AC-59FD-0049-A0D5-0F999BACE04D}" dt="2022-12-14T01:32:22.265" v="195" actId="20577"/>
          <ac:spMkLst>
            <pc:docMk/>
            <pc:sldMk cId="1008298659" sldId="2145705198"/>
            <ac:spMk id="2" creationId="{F9E07ACA-2762-4981-AA4E-72BECEFAAF04}"/>
          </ac:spMkLst>
        </pc:spChg>
      </pc:sldChg>
      <pc:sldChg chg="add del">
        <pc:chgData name="Khorasani, Ramin,MD, MPH" userId="0bd12826-d0b1-443c-9abd-f4360185d75c" providerId="ADAL" clId="{DA22B2AC-59FD-0049-A0D5-0F999BACE04D}" dt="2022-12-14T01:34:31.282" v="208" actId="2696"/>
        <pc:sldMkLst>
          <pc:docMk/>
          <pc:sldMk cId="1830853069" sldId="2145705199"/>
        </pc:sldMkLst>
      </pc:sldChg>
      <pc:sldChg chg="modSp add mod">
        <pc:chgData name="Khorasani, Ramin,MD, MPH" userId="0bd12826-d0b1-443c-9abd-f4360185d75c" providerId="ADAL" clId="{DA22B2AC-59FD-0049-A0D5-0F999BACE04D}" dt="2022-12-14T01:38:44.656" v="522" actId="20577"/>
        <pc:sldMkLst>
          <pc:docMk/>
          <pc:sldMk cId="1229717690" sldId="2145705206"/>
        </pc:sldMkLst>
        <pc:spChg chg="mod">
          <ac:chgData name="Khorasani, Ramin,MD, MPH" userId="0bd12826-d0b1-443c-9abd-f4360185d75c" providerId="ADAL" clId="{DA22B2AC-59FD-0049-A0D5-0F999BACE04D}" dt="2022-12-14T01:38:44.656" v="522" actId="20577"/>
          <ac:spMkLst>
            <pc:docMk/>
            <pc:sldMk cId="1229717690" sldId="2145705206"/>
            <ac:spMk id="3" creationId="{A08A0CEB-7FE6-49DD-A72A-6C515587CBC2}"/>
          </ac:spMkLst>
        </pc:spChg>
      </pc:sldChg>
      <pc:sldChg chg="add">
        <pc:chgData name="Khorasani, Ramin,MD, MPH" userId="0bd12826-d0b1-443c-9abd-f4360185d75c" providerId="ADAL" clId="{DA22B2AC-59FD-0049-A0D5-0F999BACE04D}" dt="2022-12-14T01:30:46.116" v="122"/>
        <pc:sldMkLst>
          <pc:docMk/>
          <pc:sldMk cId="187848670" sldId="2147468589"/>
        </pc:sldMkLst>
      </pc:sldChg>
      <pc:sldChg chg="add del">
        <pc:chgData name="Khorasani, Ramin,MD, MPH" userId="0bd12826-d0b1-443c-9abd-f4360185d75c" providerId="ADAL" clId="{DA22B2AC-59FD-0049-A0D5-0F999BACE04D}" dt="2022-12-14T01:37:45.758" v="425" actId="2696"/>
        <pc:sldMkLst>
          <pc:docMk/>
          <pc:sldMk cId="560007605" sldId="2147468590"/>
        </pc:sldMkLst>
      </pc:sldChg>
    </pc:docChg>
  </pc:docChgLst>
  <pc:docChgLst>
    <pc:chgData name="Desai, Sonali P.,MD" userId="S::sdesai5@bwh.harvard.edu::da823ac8-cded-4908-8497-a463dec84067" providerId="AD" clId="Web-{02A21695-8EE6-19A3-6091-AEBBEDDA2690}"/>
    <pc:docChg chg="mod">
      <pc:chgData name="Desai, Sonali P.,MD" userId="S::sdesai5@bwh.harvard.edu::da823ac8-cded-4908-8497-a463dec84067" providerId="AD" clId="Web-{02A21695-8EE6-19A3-6091-AEBBEDDA2690}" dt="2023-01-11T15:31:42.616" v="1"/>
      <pc:docMkLst>
        <pc:docMk/>
      </pc:docMkLst>
      <pc:sldChg chg="addCm">
        <pc:chgData name="Desai, Sonali P.,MD" userId="S::sdesai5@bwh.harvard.edu::da823ac8-cded-4908-8497-a463dec84067" providerId="AD" clId="Web-{02A21695-8EE6-19A3-6091-AEBBEDDA2690}" dt="2023-01-11T15:31:42.616" v="1"/>
        <pc:sldMkLst>
          <pc:docMk/>
          <pc:sldMk cId="1164912762" sldId="3541"/>
        </pc:sldMkLst>
      </pc:sldChg>
    </pc:docChg>
  </pc:docChgLst>
  <pc:docChgLst>
    <pc:chgData name="Vetrano, Nicole" userId="S::nvetrano@bwh.harvard.edu::251ed28a-7cb2-4cc8-a8b7-59519a3d4894" providerId="AD" clId="Web-{5F927F5C-8AB2-4DEC-B867-6AD4E24C16B6}"/>
    <pc:docChg chg="modSld">
      <pc:chgData name="Vetrano, Nicole" userId="S::nvetrano@bwh.harvard.edu::251ed28a-7cb2-4cc8-a8b7-59519a3d4894" providerId="AD" clId="Web-{5F927F5C-8AB2-4DEC-B867-6AD4E24C16B6}" dt="2023-02-03T13:45:21.455" v="33" actId="1076"/>
      <pc:docMkLst>
        <pc:docMk/>
      </pc:docMkLst>
      <pc:sldChg chg="addSp delSp modSp">
        <pc:chgData name="Vetrano, Nicole" userId="S::nvetrano@bwh.harvard.edu::251ed28a-7cb2-4cc8-a8b7-59519a3d4894" providerId="AD" clId="Web-{5F927F5C-8AB2-4DEC-B867-6AD4E24C16B6}" dt="2023-02-03T13:45:00.314" v="28" actId="1076"/>
        <pc:sldMkLst>
          <pc:docMk/>
          <pc:sldMk cId="2663093350" sldId="3369"/>
        </pc:sldMkLst>
        <pc:picChg chg="add mod">
          <ac:chgData name="Vetrano, Nicole" userId="S::nvetrano@bwh.harvard.edu::251ed28a-7cb2-4cc8-a8b7-59519a3d4894" providerId="AD" clId="Web-{5F927F5C-8AB2-4DEC-B867-6AD4E24C16B6}" dt="2023-02-03T13:44:35.829" v="22" actId="1076"/>
          <ac:picMkLst>
            <pc:docMk/>
            <pc:sldMk cId="2663093350" sldId="3369"/>
            <ac:picMk id="2" creationId="{A3D6019F-BA97-8D58-BDF3-DF18D8E9C039}"/>
          </ac:picMkLst>
        </pc:picChg>
        <pc:picChg chg="add mod">
          <ac:chgData name="Vetrano, Nicole" userId="S::nvetrano@bwh.harvard.edu::251ed28a-7cb2-4cc8-a8b7-59519a3d4894" providerId="AD" clId="Web-{5F927F5C-8AB2-4DEC-B867-6AD4E24C16B6}" dt="2023-02-03T13:45:00.314" v="28" actId="1076"/>
          <ac:picMkLst>
            <pc:docMk/>
            <pc:sldMk cId="2663093350" sldId="3369"/>
            <ac:picMk id="3" creationId="{A4E9A5ED-47DC-00D4-ECB3-E367924D47B1}"/>
          </ac:picMkLst>
        </pc:picChg>
        <pc:picChg chg="mod">
          <ac:chgData name="Vetrano, Nicole" userId="S::nvetrano@bwh.harvard.edu::251ed28a-7cb2-4cc8-a8b7-59519a3d4894" providerId="AD" clId="Web-{5F927F5C-8AB2-4DEC-B867-6AD4E24C16B6}" dt="2023-02-03T13:44:15.563" v="18" actId="1076"/>
          <ac:picMkLst>
            <pc:docMk/>
            <pc:sldMk cId="2663093350" sldId="3369"/>
            <ac:picMk id="7" creationId="{5D7C4DE8-88C9-60AE-C531-52982F0E29A5}"/>
          </ac:picMkLst>
        </pc:picChg>
        <pc:picChg chg="del">
          <ac:chgData name="Vetrano, Nicole" userId="S::nvetrano@bwh.harvard.edu::251ed28a-7cb2-4cc8-a8b7-59519a3d4894" providerId="AD" clId="Web-{5F927F5C-8AB2-4DEC-B867-6AD4E24C16B6}" dt="2023-02-03T13:44:11.797" v="16"/>
          <ac:picMkLst>
            <pc:docMk/>
            <pc:sldMk cId="2663093350" sldId="3369"/>
            <ac:picMk id="8" creationId="{B8558EB9-8238-2992-3EBF-E7800334208C}"/>
          </ac:picMkLst>
        </pc:picChg>
        <pc:picChg chg="del">
          <ac:chgData name="Vetrano, Nicole" userId="S::nvetrano@bwh.harvard.edu::251ed28a-7cb2-4cc8-a8b7-59519a3d4894" providerId="AD" clId="Web-{5F927F5C-8AB2-4DEC-B867-6AD4E24C16B6}" dt="2023-02-03T13:44:36.704" v="23"/>
          <ac:picMkLst>
            <pc:docMk/>
            <pc:sldMk cId="2663093350" sldId="3369"/>
            <ac:picMk id="9" creationId="{D7977D15-6ADD-391C-A750-0ACAF67B139E}"/>
          </ac:picMkLst>
        </pc:picChg>
      </pc:sldChg>
      <pc:sldChg chg="addSp delSp modSp">
        <pc:chgData name="Vetrano, Nicole" userId="S::nvetrano@bwh.harvard.edu::251ed28a-7cb2-4cc8-a8b7-59519a3d4894" providerId="AD" clId="Web-{5F927F5C-8AB2-4DEC-B867-6AD4E24C16B6}" dt="2023-02-03T13:45:21.455" v="33" actId="1076"/>
        <pc:sldMkLst>
          <pc:docMk/>
          <pc:sldMk cId="240661228" sldId="3423"/>
        </pc:sldMkLst>
        <pc:picChg chg="add mod">
          <ac:chgData name="Vetrano, Nicole" userId="S::nvetrano@bwh.harvard.edu::251ed28a-7cb2-4cc8-a8b7-59519a3d4894" providerId="AD" clId="Web-{5F927F5C-8AB2-4DEC-B867-6AD4E24C16B6}" dt="2023-02-03T13:45:21.455" v="33" actId="1076"/>
          <ac:picMkLst>
            <pc:docMk/>
            <pc:sldMk cId="240661228" sldId="3423"/>
            <ac:picMk id="2" creationId="{F028B415-B702-713E-07F0-459ED1F201AE}"/>
          </ac:picMkLst>
        </pc:picChg>
        <pc:picChg chg="del">
          <ac:chgData name="Vetrano, Nicole" userId="S::nvetrano@bwh.harvard.edu::251ed28a-7cb2-4cc8-a8b7-59519a3d4894" providerId="AD" clId="Web-{5F927F5C-8AB2-4DEC-B867-6AD4E24C16B6}" dt="2023-02-03T13:45:15.486" v="29"/>
          <ac:picMkLst>
            <pc:docMk/>
            <pc:sldMk cId="240661228" sldId="3423"/>
            <ac:picMk id="4" creationId="{62A37B24-1F88-E327-4A45-9A45110CA65E}"/>
          </ac:picMkLst>
        </pc:picChg>
      </pc:sldChg>
      <pc:sldChg chg="addSp delSp modSp">
        <pc:chgData name="Vetrano, Nicole" userId="S::nvetrano@bwh.harvard.edu::251ed28a-7cb2-4cc8-a8b7-59519a3d4894" providerId="AD" clId="Web-{5F927F5C-8AB2-4DEC-B867-6AD4E24C16B6}" dt="2023-02-03T13:44:04.344" v="15" actId="1076"/>
        <pc:sldMkLst>
          <pc:docMk/>
          <pc:sldMk cId="2053167649" sldId="3539"/>
        </pc:sldMkLst>
        <pc:picChg chg="add mod">
          <ac:chgData name="Vetrano, Nicole" userId="S::nvetrano@bwh.harvard.edu::251ed28a-7cb2-4cc8-a8b7-59519a3d4894" providerId="AD" clId="Web-{5F927F5C-8AB2-4DEC-B867-6AD4E24C16B6}" dt="2023-02-03T13:43:30.280" v="6" actId="1076"/>
          <ac:picMkLst>
            <pc:docMk/>
            <pc:sldMk cId="2053167649" sldId="3539"/>
            <ac:picMk id="2" creationId="{799D861C-FA36-8F2C-DFDE-581E9AE68BAA}"/>
          </ac:picMkLst>
        </pc:picChg>
        <pc:picChg chg="del">
          <ac:chgData name="Vetrano, Nicole" userId="S::nvetrano@bwh.harvard.edu::251ed28a-7cb2-4cc8-a8b7-59519a3d4894" providerId="AD" clId="Web-{5F927F5C-8AB2-4DEC-B867-6AD4E24C16B6}" dt="2023-02-03T13:42:48.389" v="0"/>
          <ac:picMkLst>
            <pc:docMk/>
            <pc:sldMk cId="2053167649" sldId="3539"/>
            <ac:picMk id="3" creationId="{FC41BD7D-CBDF-EAC8-1A91-3194C3121582}"/>
          </ac:picMkLst>
        </pc:picChg>
        <pc:picChg chg="add mod">
          <ac:chgData name="Vetrano, Nicole" userId="S::nvetrano@bwh.harvard.edu::251ed28a-7cb2-4cc8-a8b7-59519a3d4894" providerId="AD" clId="Web-{5F927F5C-8AB2-4DEC-B867-6AD4E24C16B6}" dt="2023-02-03T13:43:45.562" v="11" actId="1076"/>
          <ac:picMkLst>
            <pc:docMk/>
            <pc:sldMk cId="2053167649" sldId="3539"/>
            <ac:picMk id="4" creationId="{AAB3B1F3-BD4D-8EAB-2286-AAB185DAC8AC}"/>
          </ac:picMkLst>
        </pc:picChg>
        <pc:picChg chg="add mod">
          <ac:chgData name="Vetrano, Nicole" userId="S::nvetrano@bwh.harvard.edu::251ed28a-7cb2-4cc8-a8b7-59519a3d4894" providerId="AD" clId="Web-{5F927F5C-8AB2-4DEC-B867-6AD4E24C16B6}" dt="2023-02-03T13:44:04.344" v="15" actId="1076"/>
          <ac:picMkLst>
            <pc:docMk/>
            <pc:sldMk cId="2053167649" sldId="3539"/>
            <ac:picMk id="6" creationId="{D04B400A-9BA2-D331-3B72-4604F453622C}"/>
          </ac:picMkLst>
        </pc:picChg>
        <pc:picChg chg="del">
          <ac:chgData name="Vetrano, Nicole" userId="S::nvetrano@bwh.harvard.edu::251ed28a-7cb2-4cc8-a8b7-59519a3d4894" providerId="AD" clId="Web-{5F927F5C-8AB2-4DEC-B867-6AD4E24C16B6}" dt="2023-02-03T13:43:46.703" v="12"/>
          <ac:picMkLst>
            <pc:docMk/>
            <pc:sldMk cId="2053167649" sldId="3539"/>
            <ac:picMk id="7" creationId="{0E619B7E-8494-2242-754F-B1F9E5A5CFD1}"/>
          </ac:picMkLst>
        </pc:picChg>
        <pc:picChg chg="del">
          <ac:chgData name="Vetrano, Nicole" userId="S::nvetrano@bwh.harvard.edu::251ed28a-7cb2-4cc8-a8b7-59519a3d4894" providerId="AD" clId="Web-{5F927F5C-8AB2-4DEC-B867-6AD4E24C16B6}" dt="2023-02-03T13:42:49.123" v="1"/>
          <ac:picMkLst>
            <pc:docMk/>
            <pc:sldMk cId="2053167649" sldId="3539"/>
            <ac:picMk id="8" creationId="{0D7E8EC7-C841-E95A-EC25-3606EAF8264F}"/>
          </ac:picMkLst>
        </pc:picChg>
      </pc:sldChg>
    </pc:docChg>
  </pc:docChgLst>
  <pc:docChgLst>
    <pc:chgData name="Vetrano, Nicole" userId="S::nvetrano@bwh.harvard.edu::251ed28a-7cb2-4cc8-a8b7-59519a3d4894" providerId="AD" clId="Web-{BC679B13-6F1E-7007-AC46-929AC64A2B6E}"/>
    <pc:docChg chg="modSld">
      <pc:chgData name="Vetrano, Nicole" userId="S::nvetrano@bwh.harvard.edu::251ed28a-7cb2-4cc8-a8b7-59519a3d4894" providerId="AD" clId="Web-{BC679B13-6F1E-7007-AC46-929AC64A2B6E}" dt="2022-12-07T15:26:54.182" v="14" actId="1076"/>
      <pc:docMkLst>
        <pc:docMk/>
      </pc:docMkLst>
      <pc:sldChg chg="addSp delSp modSp">
        <pc:chgData name="Vetrano, Nicole" userId="S::nvetrano@bwh.harvard.edu::251ed28a-7cb2-4cc8-a8b7-59519a3d4894" providerId="AD" clId="Web-{BC679B13-6F1E-7007-AC46-929AC64A2B6E}" dt="2022-12-07T15:26:54.182" v="14" actId="1076"/>
        <pc:sldMkLst>
          <pc:docMk/>
          <pc:sldMk cId="2663093350" sldId="3369"/>
        </pc:sldMkLst>
        <pc:picChg chg="mod">
          <ac:chgData name="Vetrano, Nicole" userId="S::nvetrano@bwh.harvard.edu::251ed28a-7cb2-4cc8-a8b7-59519a3d4894" providerId="AD" clId="Web-{BC679B13-6F1E-7007-AC46-929AC64A2B6E}" dt="2022-12-07T15:26:51.557" v="13" actId="14100"/>
          <ac:picMkLst>
            <pc:docMk/>
            <pc:sldMk cId="2663093350" sldId="3369"/>
            <ac:picMk id="2" creationId="{1B846EF8-D159-7641-2706-B32D86028D27}"/>
          </ac:picMkLst>
        </pc:picChg>
        <pc:picChg chg="del">
          <ac:chgData name="Vetrano, Nicole" userId="S::nvetrano@bwh.harvard.edu::251ed28a-7cb2-4cc8-a8b7-59519a3d4894" providerId="AD" clId="Web-{BC679B13-6F1E-7007-AC46-929AC64A2B6E}" dt="2022-12-07T15:26:40.947" v="7"/>
          <ac:picMkLst>
            <pc:docMk/>
            <pc:sldMk cId="2663093350" sldId="3369"/>
            <ac:picMk id="3" creationId="{38CDB83B-1C43-8925-7EF8-C98B0830800E}"/>
          </ac:picMkLst>
        </pc:picChg>
        <pc:picChg chg="add mod">
          <ac:chgData name="Vetrano, Nicole" userId="S::nvetrano@bwh.harvard.edu::251ed28a-7cb2-4cc8-a8b7-59519a3d4894" providerId="AD" clId="Web-{BC679B13-6F1E-7007-AC46-929AC64A2B6E}" dt="2022-12-07T15:26:54.182" v="14" actId="1076"/>
          <ac:picMkLst>
            <pc:docMk/>
            <pc:sldMk cId="2663093350" sldId="3369"/>
            <ac:picMk id="4" creationId="{2840AF72-8EF5-944F-6005-8B79330B96B6}"/>
          </ac:picMkLst>
        </pc:picChg>
      </pc:sldChg>
      <pc:sldChg chg="addSp delSp modSp">
        <pc:chgData name="Vetrano, Nicole" userId="S::nvetrano@bwh.harvard.edu::251ed28a-7cb2-4cc8-a8b7-59519a3d4894" providerId="AD" clId="Web-{BC679B13-6F1E-7007-AC46-929AC64A2B6E}" dt="2022-12-07T15:26:23.790" v="6" actId="1076"/>
        <pc:sldMkLst>
          <pc:docMk/>
          <pc:sldMk cId="2053167649" sldId="3539"/>
        </pc:sldMkLst>
        <pc:picChg chg="add mod">
          <ac:chgData name="Vetrano, Nicole" userId="S::nvetrano@bwh.harvard.edu::251ed28a-7cb2-4cc8-a8b7-59519a3d4894" providerId="AD" clId="Web-{BC679B13-6F1E-7007-AC46-929AC64A2B6E}" dt="2022-12-07T15:26:23.790" v="6" actId="1076"/>
          <ac:picMkLst>
            <pc:docMk/>
            <pc:sldMk cId="2053167649" sldId="3539"/>
            <ac:picMk id="2" creationId="{B3633E5B-3D53-7512-9D53-D80D79062DDA}"/>
          </ac:picMkLst>
        </pc:picChg>
        <pc:picChg chg="del">
          <ac:chgData name="Vetrano, Nicole" userId="S::nvetrano@bwh.harvard.edu::251ed28a-7cb2-4cc8-a8b7-59519a3d4894" providerId="AD" clId="Web-{BC679B13-6F1E-7007-AC46-929AC64A2B6E}" dt="2022-12-07T15:26:10.962" v="0"/>
          <ac:picMkLst>
            <pc:docMk/>
            <pc:sldMk cId="2053167649" sldId="3539"/>
            <ac:picMk id="7" creationId="{CD6F0726-BEB7-113B-AD62-4A3C4608B271}"/>
          </ac:picMkLst>
        </pc:picChg>
      </pc:sldChg>
    </pc:docChg>
  </pc:docChgLst>
  <pc:docChgLst>
    <pc:chgData name="Vetrano, Nicole" userId="S::nvetrano@bwh.harvard.edu::251ed28a-7cb2-4cc8-a8b7-59519a3d4894" providerId="AD" clId="Web-{579C79CE-7B8E-E924-C144-0E571B8A98EC}"/>
    <pc:docChg chg="modSld">
      <pc:chgData name="Vetrano, Nicole" userId="S::nvetrano@bwh.harvard.edu::251ed28a-7cb2-4cc8-a8b7-59519a3d4894" providerId="AD" clId="Web-{579C79CE-7B8E-E924-C144-0E571B8A98EC}" dt="2023-07-11T17:17:44.257" v="112" actId="1076"/>
      <pc:docMkLst>
        <pc:docMk/>
      </pc:docMkLst>
      <pc:sldChg chg="addSp delSp modSp">
        <pc:chgData name="Vetrano, Nicole" userId="S::nvetrano@bwh.harvard.edu::251ed28a-7cb2-4cc8-a8b7-59519a3d4894" providerId="AD" clId="Web-{579C79CE-7B8E-E924-C144-0E571B8A98EC}" dt="2023-07-11T17:08:32.461" v="57" actId="1076"/>
        <pc:sldMkLst>
          <pc:docMk/>
          <pc:sldMk cId="2663093350" sldId="3369"/>
        </pc:sldMkLst>
        <pc:spChg chg="del">
          <ac:chgData name="Vetrano, Nicole" userId="S::nvetrano@bwh.harvard.edu::251ed28a-7cb2-4cc8-a8b7-59519a3d4894" providerId="AD" clId="Web-{579C79CE-7B8E-E924-C144-0E571B8A98EC}" dt="2023-07-11T17:07:24.397" v="38"/>
          <ac:spMkLst>
            <pc:docMk/>
            <pc:sldMk cId="2663093350" sldId="3369"/>
            <ac:spMk id="2" creationId="{062EDC39-B593-BDDF-F21F-0716E92917CC}"/>
          </ac:spMkLst>
        </pc:spChg>
        <pc:picChg chg="del">
          <ac:chgData name="Vetrano, Nicole" userId="S::nvetrano@bwh.harvard.edu::251ed28a-7cb2-4cc8-a8b7-59519a3d4894" providerId="AD" clId="Web-{579C79CE-7B8E-E924-C144-0E571B8A98EC}" dt="2023-07-11T17:07:25.413" v="40"/>
          <ac:picMkLst>
            <pc:docMk/>
            <pc:sldMk cId="2663093350" sldId="3369"/>
            <ac:picMk id="3" creationId="{7B4A407B-63D6-22D0-38DA-4B6E155DF040}"/>
          </ac:picMkLst>
        </pc:picChg>
        <pc:picChg chg="add mod">
          <ac:chgData name="Vetrano, Nicole" userId="S::nvetrano@bwh.harvard.edu::251ed28a-7cb2-4cc8-a8b7-59519a3d4894" providerId="AD" clId="Web-{579C79CE-7B8E-E924-C144-0E571B8A98EC}" dt="2023-07-11T17:07:42.851" v="47" actId="1076"/>
          <ac:picMkLst>
            <pc:docMk/>
            <pc:sldMk cId="2663093350" sldId="3369"/>
            <ac:picMk id="5" creationId="{18723FBD-5896-D341-0BC8-295333A9022C}"/>
          </ac:picMkLst>
        </pc:picChg>
        <pc:picChg chg="add mod">
          <ac:chgData name="Vetrano, Nicole" userId="S::nvetrano@bwh.harvard.edu::251ed28a-7cb2-4cc8-a8b7-59519a3d4894" providerId="AD" clId="Web-{579C79CE-7B8E-E924-C144-0E571B8A98EC}" dt="2023-07-11T17:07:57.945" v="51" actId="1076"/>
          <ac:picMkLst>
            <pc:docMk/>
            <pc:sldMk cId="2663093350" sldId="3369"/>
            <ac:picMk id="6" creationId="{A02606FF-24CF-E039-596A-E734CBD662FF}"/>
          </ac:picMkLst>
        </pc:picChg>
        <pc:picChg chg="del">
          <ac:chgData name="Vetrano, Nicole" userId="S::nvetrano@bwh.harvard.edu::251ed28a-7cb2-4cc8-a8b7-59519a3d4894" providerId="AD" clId="Web-{579C79CE-7B8E-E924-C144-0E571B8A98EC}" dt="2023-07-11T17:07:26.147" v="41"/>
          <ac:picMkLst>
            <pc:docMk/>
            <pc:sldMk cId="2663093350" sldId="3369"/>
            <ac:picMk id="7" creationId="{1848FF77-4763-AAC9-A9DF-6B84289DBDD3}"/>
          </ac:picMkLst>
        </pc:picChg>
        <pc:picChg chg="del">
          <ac:chgData name="Vetrano, Nicole" userId="S::nvetrano@bwh.harvard.edu::251ed28a-7cb2-4cc8-a8b7-59519a3d4894" providerId="AD" clId="Web-{579C79CE-7B8E-E924-C144-0E571B8A98EC}" dt="2023-07-11T17:07:24.803" v="39"/>
          <ac:picMkLst>
            <pc:docMk/>
            <pc:sldMk cId="2663093350" sldId="3369"/>
            <ac:picMk id="8" creationId="{D67A67E1-6006-27BE-2C36-031A274B7026}"/>
          </ac:picMkLst>
        </pc:picChg>
        <pc:picChg chg="del">
          <ac:chgData name="Vetrano, Nicole" userId="S::nvetrano@bwh.harvard.edu::251ed28a-7cb2-4cc8-a8b7-59519a3d4894" providerId="AD" clId="Web-{579C79CE-7B8E-E924-C144-0E571B8A98EC}" dt="2023-07-11T17:07:26.522" v="42"/>
          <ac:picMkLst>
            <pc:docMk/>
            <pc:sldMk cId="2663093350" sldId="3369"/>
            <ac:picMk id="9" creationId="{F886E7FA-09BB-1EF1-AF96-A3FB66BF5CC3}"/>
          </ac:picMkLst>
        </pc:picChg>
        <pc:picChg chg="add mod">
          <ac:chgData name="Vetrano, Nicole" userId="S::nvetrano@bwh.harvard.edu::251ed28a-7cb2-4cc8-a8b7-59519a3d4894" providerId="AD" clId="Web-{579C79CE-7B8E-E924-C144-0E571B8A98EC}" dt="2023-07-11T17:08:18.633" v="54" actId="1076"/>
          <ac:picMkLst>
            <pc:docMk/>
            <pc:sldMk cId="2663093350" sldId="3369"/>
            <ac:picMk id="12" creationId="{0F1301EA-BA62-807D-94C6-11F898CD91D6}"/>
          </ac:picMkLst>
        </pc:picChg>
        <pc:picChg chg="add mod">
          <ac:chgData name="Vetrano, Nicole" userId="S::nvetrano@bwh.harvard.edu::251ed28a-7cb2-4cc8-a8b7-59519a3d4894" providerId="AD" clId="Web-{579C79CE-7B8E-E924-C144-0E571B8A98EC}" dt="2023-07-11T17:08:32.461" v="57" actId="1076"/>
          <ac:picMkLst>
            <pc:docMk/>
            <pc:sldMk cId="2663093350" sldId="3369"/>
            <ac:picMk id="13" creationId="{33BB7E97-0EEA-F2B3-2866-57BB94CE6DB0}"/>
          </ac:picMkLst>
        </pc:picChg>
      </pc:sldChg>
      <pc:sldChg chg="addSp delSp modSp">
        <pc:chgData name="Vetrano, Nicole" userId="S::nvetrano@bwh.harvard.edu::251ed28a-7cb2-4cc8-a8b7-59519a3d4894" providerId="AD" clId="Web-{579C79CE-7B8E-E924-C144-0E571B8A98EC}" dt="2023-07-11T17:05:53.270" v="13" actId="1076"/>
        <pc:sldMkLst>
          <pc:docMk/>
          <pc:sldMk cId="427793889" sldId="3388"/>
        </pc:sldMkLst>
        <pc:spChg chg="del">
          <ac:chgData name="Vetrano, Nicole" userId="S::nvetrano@bwh.harvard.edu::251ed28a-7cb2-4cc8-a8b7-59519a3d4894" providerId="AD" clId="Web-{579C79CE-7B8E-E924-C144-0E571B8A98EC}" dt="2023-07-11T17:05:35.473" v="8"/>
          <ac:spMkLst>
            <pc:docMk/>
            <pc:sldMk cId="427793889" sldId="3388"/>
            <ac:spMk id="2" creationId="{5F58563F-1DA8-F1AD-9E58-4304B7CBC3AB}"/>
          </ac:spMkLst>
        </pc:spChg>
        <pc:spChg chg="del mod">
          <ac:chgData name="Vetrano, Nicole" userId="S::nvetrano@bwh.harvard.edu::251ed28a-7cb2-4cc8-a8b7-59519a3d4894" providerId="AD" clId="Web-{579C79CE-7B8E-E924-C144-0E571B8A98EC}" dt="2023-07-11T17:05:05.362" v="1"/>
          <ac:spMkLst>
            <pc:docMk/>
            <pc:sldMk cId="427793889" sldId="3388"/>
            <ac:spMk id="4" creationId="{8632F05C-A839-C738-7FBF-A99C26657DD8}"/>
          </ac:spMkLst>
        </pc:spChg>
        <pc:picChg chg="del">
          <ac:chgData name="Vetrano, Nicole" userId="S::nvetrano@bwh.harvard.edu::251ed28a-7cb2-4cc8-a8b7-59519a3d4894" providerId="AD" clId="Web-{579C79CE-7B8E-E924-C144-0E571B8A98EC}" dt="2023-07-11T17:05:05.378" v="2"/>
          <ac:picMkLst>
            <pc:docMk/>
            <pc:sldMk cId="427793889" sldId="3388"/>
            <ac:picMk id="5" creationId="{3F7DC91E-0FD7-201B-4872-C7C58D15FF5C}"/>
          </ac:picMkLst>
        </pc:picChg>
        <pc:picChg chg="add mod">
          <ac:chgData name="Vetrano, Nicole" userId="S::nvetrano@bwh.harvard.edu::251ed28a-7cb2-4cc8-a8b7-59519a3d4894" providerId="AD" clId="Web-{579C79CE-7B8E-E924-C144-0E571B8A98EC}" dt="2023-07-11T17:05:40.332" v="10" actId="1076"/>
          <ac:picMkLst>
            <pc:docMk/>
            <pc:sldMk cId="427793889" sldId="3388"/>
            <ac:picMk id="6" creationId="{46EFBC97-AD75-62F5-BA8C-18B893FBE2F5}"/>
          </ac:picMkLst>
        </pc:picChg>
        <pc:picChg chg="add mod">
          <ac:chgData name="Vetrano, Nicole" userId="S::nvetrano@bwh.harvard.edu::251ed28a-7cb2-4cc8-a8b7-59519a3d4894" providerId="AD" clId="Web-{579C79CE-7B8E-E924-C144-0E571B8A98EC}" dt="2023-07-11T17:05:53.270" v="13" actId="1076"/>
          <ac:picMkLst>
            <pc:docMk/>
            <pc:sldMk cId="427793889" sldId="3388"/>
            <ac:picMk id="8" creationId="{DB3B2047-D274-0E0F-B5D3-F5768268DB7A}"/>
          </ac:picMkLst>
        </pc:picChg>
      </pc:sldChg>
      <pc:sldChg chg="addSp delSp modSp">
        <pc:chgData name="Vetrano, Nicole" userId="S::nvetrano@bwh.harvard.edu::251ed28a-7cb2-4cc8-a8b7-59519a3d4894" providerId="AD" clId="Web-{579C79CE-7B8E-E924-C144-0E571B8A98EC}" dt="2023-07-11T17:08:57.962" v="64" actId="1076"/>
        <pc:sldMkLst>
          <pc:docMk/>
          <pc:sldMk cId="240661228" sldId="3423"/>
        </pc:sldMkLst>
        <pc:spChg chg="del">
          <ac:chgData name="Vetrano, Nicole" userId="S::nvetrano@bwh.harvard.edu::251ed28a-7cb2-4cc8-a8b7-59519a3d4894" providerId="AD" clId="Web-{579C79CE-7B8E-E924-C144-0E571B8A98EC}" dt="2023-07-11T17:08:38.071" v="58"/>
          <ac:spMkLst>
            <pc:docMk/>
            <pc:sldMk cId="240661228" sldId="3423"/>
            <ac:spMk id="2" creationId="{4A4A3C61-8096-F778-5253-F679DE8B9837}"/>
          </ac:spMkLst>
        </pc:spChg>
        <pc:picChg chg="add mod">
          <ac:chgData name="Vetrano, Nicole" userId="S::nvetrano@bwh.harvard.edu::251ed28a-7cb2-4cc8-a8b7-59519a3d4894" providerId="AD" clId="Web-{579C79CE-7B8E-E924-C144-0E571B8A98EC}" dt="2023-07-11T17:08:57.962" v="64" actId="1076"/>
          <ac:picMkLst>
            <pc:docMk/>
            <pc:sldMk cId="240661228" sldId="3423"/>
            <ac:picMk id="3" creationId="{724BDE10-5998-DA05-F432-98B84AEE763E}"/>
          </ac:picMkLst>
        </pc:picChg>
        <pc:picChg chg="del">
          <ac:chgData name="Vetrano, Nicole" userId="S::nvetrano@bwh.harvard.edu::251ed28a-7cb2-4cc8-a8b7-59519a3d4894" providerId="AD" clId="Web-{579C79CE-7B8E-E924-C144-0E571B8A98EC}" dt="2023-07-11T17:08:39.149" v="59"/>
          <ac:picMkLst>
            <pc:docMk/>
            <pc:sldMk cId="240661228" sldId="3423"/>
            <ac:picMk id="4" creationId="{F6CC7485-78DE-CFCD-8B47-698863082D5B}"/>
          </ac:picMkLst>
        </pc:picChg>
      </pc:sldChg>
      <pc:sldChg chg="delSp modSp">
        <pc:chgData name="Vetrano, Nicole" userId="S::nvetrano@bwh.harvard.edu::251ed28a-7cb2-4cc8-a8b7-59519a3d4894" providerId="AD" clId="Web-{579C79CE-7B8E-E924-C144-0E571B8A98EC}" dt="2023-07-11T17:17:36.522" v="110" actId="20577"/>
        <pc:sldMkLst>
          <pc:docMk/>
          <pc:sldMk cId="2157829121" sldId="3500"/>
        </pc:sldMkLst>
        <pc:spChg chg="del">
          <ac:chgData name="Vetrano, Nicole" userId="S::nvetrano@bwh.harvard.edu::251ed28a-7cb2-4cc8-a8b7-59519a3d4894" providerId="AD" clId="Web-{579C79CE-7B8E-E924-C144-0E571B8A98EC}" dt="2023-07-11T17:11:02.012" v="85"/>
          <ac:spMkLst>
            <pc:docMk/>
            <pc:sldMk cId="2157829121" sldId="3500"/>
            <ac:spMk id="2" creationId="{D704ED81-739C-EE54-52B4-EADB24506D07}"/>
          </ac:spMkLst>
        </pc:spChg>
        <pc:spChg chg="mod">
          <ac:chgData name="Vetrano, Nicole" userId="S::nvetrano@bwh.harvard.edu::251ed28a-7cb2-4cc8-a8b7-59519a3d4894" providerId="AD" clId="Web-{579C79CE-7B8E-E924-C144-0E571B8A98EC}" dt="2023-07-11T17:17:36.522" v="110" actId="20577"/>
          <ac:spMkLst>
            <pc:docMk/>
            <pc:sldMk cId="2157829121" sldId="3500"/>
            <ac:spMk id="3" creationId="{DC1FB5CC-EE33-4D67-A5D0-01136FFFBE11}"/>
          </ac:spMkLst>
        </pc:spChg>
      </pc:sldChg>
      <pc:sldChg chg="addSp delSp modSp">
        <pc:chgData name="Vetrano, Nicole" userId="S::nvetrano@bwh.harvard.edu::251ed28a-7cb2-4cc8-a8b7-59519a3d4894" providerId="AD" clId="Web-{579C79CE-7B8E-E924-C144-0E571B8A98EC}" dt="2023-07-11T17:09:30.432" v="70" actId="1076"/>
        <pc:sldMkLst>
          <pc:docMk/>
          <pc:sldMk cId="3640228099" sldId="3536"/>
        </pc:sldMkLst>
        <pc:spChg chg="del">
          <ac:chgData name="Vetrano, Nicole" userId="S::nvetrano@bwh.harvard.edu::251ed28a-7cb2-4cc8-a8b7-59519a3d4894" providerId="AD" clId="Web-{579C79CE-7B8E-E924-C144-0E571B8A98EC}" dt="2023-07-11T17:09:04.775" v="65"/>
          <ac:spMkLst>
            <pc:docMk/>
            <pc:sldMk cId="3640228099" sldId="3536"/>
            <ac:spMk id="2" creationId="{4B4F5B53-894D-63D1-2895-4AF4E257FEC2}"/>
          </ac:spMkLst>
        </pc:spChg>
        <pc:picChg chg="del">
          <ac:chgData name="Vetrano, Nicole" userId="S::nvetrano@bwh.harvard.edu::251ed28a-7cb2-4cc8-a8b7-59519a3d4894" providerId="AD" clId="Web-{579C79CE-7B8E-E924-C144-0E571B8A98EC}" dt="2023-07-11T17:09:05.150" v="66"/>
          <ac:picMkLst>
            <pc:docMk/>
            <pc:sldMk cId="3640228099" sldId="3536"/>
            <ac:picMk id="3" creationId="{CEE3D6F6-B4BA-797D-5072-35F51E5E695E}"/>
          </ac:picMkLst>
        </pc:picChg>
        <pc:picChg chg="add mod">
          <ac:chgData name="Vetrano, Nicole" userId="S::nvetrano@bwh.harvard.edu::251ed28a-7cb2-4cc8-a8b7-59519a3d4894" providerId="AD" clId="Web-{579C79CE-7B8E-E924-C144-0E571B8A98EC}" dt="2023-07-11T17:09:30.432" v="70" actId="1076"/>
          <ac:picMkLst>
            <pc:docMk/>
            <pc:sldMk cId="3640228099" sldId="3536"/>
            <ac:picMk id="5" creationId="{4614CF8A-D5BA-F4E2-56CF-244CE9345E02}"/>
          </ac:picMkLst>
        </pc:picChg>
        <pc:picChg chg="del">
          <ac:chgData name="Vetrano, Nicole" userId="S::nvetrano@bwh.harvard.edu::251ed28a-7cb2-4cc8-a8b7-59519a3d4894" providerId="AD" clId="Web-{579C79CE-7B8E-E924-C144-0E571B8A98EC}" dt="2023-07-11T17:09:07.619" v="67"/>
          <ac:picMkLst>
            <pc:docMk/>
            <pc:sldMk cId="3640228099" sldId="3536"/>
            <ac:picMk id="6" creationId="{C5DBB77E-F102-E486-1E9C-B33F5220C8B8}"/>
          </ac:picMkLst>
        </pc:picChg>
      </pc:sldChg>
      <pc:sldChg chg="addSp delSp modSp">
        <pc:chgData name="Vetrano, Nicole" userId="S::nvetrano@bwh.harvard.edu::251ed28a-7cb2-4cc8-a8b7-59519a3d4894" providerId="AD" clId="Web-{579C79CE-7B8E-E924-C144-0E571B8A98EC}" dt="2023-07-11T17:10:27.668" v="78" actId="1076"/>
        <pc:sldMkLst>
          <pc:docMk/>
          <pc:sldMk cId="3537679081" sldId="3537"/>
        </pc:sldMkLst>
        <pc:spChg chg="del">
          <ac:chgData name="Vetrano, Nicole" userId="S::nvetrano@bwh.harvard.edu::251ed28a-7cb2-4cc8-a8b7-59519a3d4894" providerId="AD" clId="Web-{579C79CE-7B8E-E924-C144-0E571B8A98EC}" dt="2023-07-11T17:09:38.260" v="71"/>
          <ac:spMkLst>
            <pc:docMk/>
            <pc:sldMk cId="3537679081" sldId="3537"/>
            <ac:spMk id="2" creationId="{C05E6AFA-CB6B-A434-CB64-544C17C44E93}"/>
          </ac:spMkLst>
        </pc:spChg>
        <pc:spChg chg="del mod">
          <ac:chgData name="Vetrano, Nicole" userId="S::nvetrano@bwh.harvard.edu::251ed28a-7cb2-4cc8-a8b7-59519a3d4894" providerId="AD" clId="Web-{579C79CE-7B8E-E924-C144-0E571B8A98EC}" dt="2023-07-11T17:10:25.074" v="77"/>
          <ac:spMkLst>
            <pc:docMk/>
            <pc:sldMk cId="3537679081" sldId="3537"/>
            <ac:spMk id="6" creationId="{2B62D525-5C8E-D7F8-E99C-9A4C8116A0D4}"/>
          </ac:spMkLst>
        </pc:spChg>
        <pc:picChg chg="add mod">
          <ac:chgData name="Vetrano, Nicole" userId="S::nvetrano@bwh.harvard.edu::251ed28a-7cb2-4cc8-a8b7-59519a3d4894" providerId="AD" clId="Web-{579C79CE-7B8E-E924-C144-0E571B8A98EC}" dt="2023-07-11T17:10:27.668" v="78" actId="1076"/>
          <ac:picMkLst>
            <pc:docMk/>
            <pc:sldMk cId="3537679081" sldId="3537"/>
            <ac:picMk id="3" creationId="{0238BB5D-1A80-A4F9-2749-63D0A8CD5339}"/>
          </ac:picMkLst>
        </pc:picChg>
        <pc:picChg chg="del">
          <ac:chgData name="Vetrano, Nicole" userId="S::nvetrano@bwh.harvard.edu::251ed28a-7cb2-4cc8-a8b7-59519a3d4894" providerId="AD" clId="Web-{579C79CE-7B8E-E924-C144-0E571B8A98EC}" dt="2023-07-11T17:09:38.354" v="72"/>
          <ac:picMkLst>
            <pc:docMk/>
            <pc:sldMk cId="3537679081" sldId="3537"/>
            <ac:picMk id="7" creationId="{F1DEFD39-B1A5-3A60-6B29-517DCB9A5C33}"/>
          </ac:picMkLst>
        </pc:picChg>
      </pc:sldChg>
      <pc:sldChg chg="addSp delSp modSp">
        <pc:chgData name="Vetrano, Nicole" userId="S::nvetrano@bwh.harvard.edu::251ed28a-7cb2-4cc8-a8b7-59519a3d4894" providerId="AD" clId="Web-{579C79CE-7B8E-E924-C144-0E571B8A98EC}" dt="2023-07-11T17:07:20.944" v="37" actId="1076"/>
        <pc:sldMkLst>
          <pc:docMk/>
          <pc:sldMk cId="2053167649" sldId="3539"/>
        </pc:sldMkLst>
        <pc:spChg chg="del">
          <ac:chgData name="Vetrano, Nicole" userId="S::nvetrano@bwh.harvard.edu::251ed28a-7cb2-4cc8-a8b7-59519a3d4894" providerId="AD" clId="Web-{579C79CE-7B8E-E924-C144-0E571B8A98EC}" dt="2023-07-11T17:05:57.442" v="14"/>
          <ac:spMkLst>
            <pc:docMk/>
            <pc:sldMk cId="2053167649" sldId="3539"/>
            <ac:spMk id="2" creationId="{3EE3D306-772A-E0E5-01CA-E1D385406EC3}"/>
          </ac:spMkLst>
        </pc:spChg>
        <pc:picChg chg="add mod">
          <ac:chgData name="Vetrano, Nicole" userId="S::nvetrano@bwh.harvard.edu::251ed28a-7cb2-4cc8-a8b7-59519a3d4894" providerId="AD" clId="Web-{579C79CE-7B8E-E924-C144-0E571B8A98EC}" dt="2023-07-11T17:06:22.646" v="25" actId="14100"/>
          <ac:picMkLst>
            <pc:docMk/>
            <pc:sldMk cId="2053167649" sldId="3539"/>
            <ac:picMk id="3" creationId="{B22AD03B-8D1B-29E3-7DAB-92C6C45AD8AB}"/>
          </ac:picMkLst>
        </pc:picChg>
        <pc:picChg chg="add mod">
          <ac:chgData name="Vetrano, Nicole" userId="S::nvetrano@bwh.harvard.edu::251ed28a-7cb2-4cc8-a8b7-59519a3d4894" providerId="AD" clId="Web-{579C79CE-7B8E-E924-C144-0E571B8A98EC}" dt="2023-07-11T17:06:37.068" v="28" actId="1076"/>
          <ac:picMkLst>
            <pc:docMk/>
            <pc:sldMk cId="2053167649" sldId="3539"/>
            <ac:picMk id="4" creationId="{6EBD0126-73F2-2550-65C3-4AFCDD976749}"/>
          </ac:picMkLst>
        </pc:picChg>
        <pc:picChg chg="del">
          <ac:chgData name="Vetrano, Nicole" userId="S::nvetrano@bwh.harvard.edu::251ed28a-7cb2-4cc8-a8b7-59519a3d4894" providerId="AD" clId="Web-{579C79CE-7B8E-E924-C144-0E571B8A98EC}" dt="2023-07-11T17:05:58.629" v="15"/>
          <ac:picMkLst>
            <pc:docMk/>
            <pc:sldMk cId="2053167649" sldId="3539"/>
            <ac:picMk id="6" creationId="{6C3E2F55-3899-23F4-7836-9CC7651E6CA2}"/>
          </ac:picMkLst>
        </pc:picChg>
        <pc:picChg chg="del">
          <ac:chgData name="Vetrano, Nicole" userId="S::nvetrano@bwh.harvard.edu::251ed28a-7cb2-4cc8-a8b7-59519a3d4894" providerId="AD" clId="Web-{579C79CE-7B8E-E924-C144-0E571B8A98EC}" dt="2023-07-11T17:06:01.426" v="18"/>
          <ac:picMkLst>
            <pc:docMk/>
            <pc:sldMk cId="2053167649" sldId="3539"/>
            <ac:picMk id="7" creationId="{032F5C7B-6B33-3713-F10A-8D6F01E03E36}"/>
          </ac:picMkLst>
        </pc:picChg>
        <pc:picChg chg="del">
          <ac:chgData name="Vetrano, Nicole" userId="S::nvetrano@bwh.harvard.edu::251ed28a-7cb2-4cc8-a8b7-59519a3d4894" providerId="AD" clId="Web-{579C79CE-7B8E-E924-C144-0E571B8A98EC}" dt="2023-07-11T17:05:59.317" v="16"/>
          <ac:picMkLst>
            <pc:docMk/>
            <pc:sldMk cId="2053167649" sldId="3539"/>
            <ac:picMk id="8" creationId="{BB9295B9-9D39-8A0B-6D48-387D80551B8C}"/>
          </ac:picMkLst>
        </pc:picChg>
        <pc:picChg chg="del">
          <ac:chgData name="Vetrano, Nicole" userId="S::nvetrano@bwh.harvard.edu::251ed28a-7cb2-4cc8-a8b7-59519a3d4894" providerId="AD" clId="Web-{579C79CE-7B8E-E924-C144-0E571B8A98EC}" dt="2023-07-11T17:06:00.583" v="17"/>
          <ac:picMkLst>
            <pc:docMk/>
            <pc:sldMk cId="2053167649" sldId="3539"/>
            <ac:picMk id="9" creationId="{FF973EC8-5767-6EE9-C00F-7717A415DC4C}"/>
          </ac:picMkLst>
        </pc:picChg>
        <pc:picChg chg="add mod">
          <ac:chgData name="Vetrano, Nicole" userId="S::nvetrano@bwh.harvard.edu::251ed28a-7cb2-4cc8-a8b7-59519a3d4894" providerId="AD" clId="Web-{579C79CE-7B8E-E924-C144-0E571B8A98EC}" dt="2023-07-11T17:07:02.193" v="32" actId="14100"/>
          <ac:picMkLst>
            <pc:docMk/>
            <pc:sldMk cId="2053167649" sldId="3539"/>
            <ac:picMk id="10" creationId="{F317D1D2-89F1-7B14-1043-470AF94C7AF2}"/>
          </ac:picMkLst>
        </pc:picChg>
        <pc:picChg chg="add mod">
          <ac:chgData name="Vetrano, Nicole" userId="S::nvetrano@bwh.harvard.edu::251ed28a-7cb2-4cc8-a8b7-59519a3d4894" providerId="AD" clId="Web-{579C79CE-7B8E-E924-C144-0E571B8A98EC}" dt="2023-07-11T17:07:20.944" v="37" actId="1076"/>
          <ac:picMkLst>
            <pc:docMk/>
            <pc:sldMk cId="2053167649" sldId="3539"/>
            <ac:picMk id="12" creationId="{796BCDB9-A303-4366-DE92-F99332430358}"/>
          </ac:picMkLst>
        </pc:picChg>
      </pc:sldChg>
      <pc:sldChg chg="addSp delSp modSp">
        <pc:chgData name="Vetrano, Nicole" userId="S::nvetrano@bwh.harvard.edu::251ed28a-7cb2-4cc8-a8b7-59519a3d4894" providerId="AD" clId="Web-{579C79CE-7B8E-E924-C144-0E571B8A98EC}" dt="2023-07-11T17:17:44.257" v="112" actId="1076"/>
        <pc:sldMkLst>
          <pc:docMk/>
          <pc:sldMk cId="3467862585" sldId="3540"/>
        </pc:sldMkLst>
        <pc:spChg chg="del">
          <ac:chgData name="Vetrano, Nicole" userId="S::nvetrano@bwh.harvard.edu::251ed28a-7cb2-4cc8-a8b7-59519a3d4894" providerId="AD" clId="Web-{579C79CE-7B8E-E924-C144-0E571B8A98EC}" dt="2023-07-11T17:10:30.714" v="79"/>
          <ac:spMkLst>
            <pc:docMk/>
            <pc:sldMk cId="3467862585" sldId="3540"/>
            <ac:spMk id="2" creationId="{EFDF62EC-3452-5B49-6F4A-5A95F9E8E934}"/>
          </ac:spMkLst>
        </pc:spChg>
        <pc:spChg chg="del">
          <ac:chgData name="Vetrano, Nicole" userId="S::nvetrano@bwh.harvard.edu::251ed28a-7cb2-4cc8-a8b7-59519a3d4894" providerId="AD" clId="Web-{579C79CE-7B8E-E924-C144-0E571B8A98EC}" dt="2023-07-11T17:10:32.980" v="81"/>
          <ac:spMkLst>
            <pc:docMk/>
            <pc:sldMk cId="3467862585" sldId="3540"/>
            <ac:spMk id="5" creationId="{4D194D00-D1E6-9962-1887-B5C3C9CCC1B3}"/>
          </ac:spMkLst>
        </pc:spChg>
        <pc:picChg chg="add mod">
          <ac:chgData name="Vetrano, Nicole" userId="S::nvetrano@bwh.harvard.edu::251ed28a-7cb2-4cc8-a8b7-59519a3d4894" providerId="AD" clId="Web-{579C79CE-7B8E-E924-C144-0E571B8A98EC}" dt="2023-07-11T17:17:44.257" v="112" actId="1076"/>
          <ac:picMkLst>
            <pc:docMk/>
            <pc:sldMk cId="3467862585" sldId="3540"/>
            <ac:picMk id="3" creationId="{EE2EFD8E-883B-B242-ACD9-B37D3F1E2BFB}"/>
          </ac:picMkLst>
        </pc:picChg>
        <pc:picChg chg="del">
          <ac:chgData name="Vetrano, Nicole" userId="S::nvetrano@bwh.harvard.edu::251ed28a-7cb2-4cc8-a8b7-59519a3d4894" providerId="AD" clId="Web-{579C79CE-7B8E-E924-C144-0E571B8A98EC}" dt="2023-07-11T17:10:31.058" v="80"/>
          <ac:picMkLst>
            <pc:docMk/>
            <pc:sldMk cId="3467862585" sldId="3540"/>
            <ac:picMk id="6" creationId="{6C6AF320-D4FB-EE7D-368A-97BA7E0E2EFC}"/>
          </ac:picMkLst>
        </pc:picChg>
      </pc:sldChg>
    </pc:docChg>
  </pc:docChgLst>
  <pc:docChgLst>
    <pc:chgData name="Vetrano, Nicole" userId="S::nvetrano@bwh.harvard.edu::251ed28a-7cb2-4cc8-a8b7-59519a3d4894" providerId="AD" clId="Web-{C07BBDB5-4573-4526-88C8-0EF6C24663E9}"/>
    <pc:docChg chg="modSld">
      <pc:chgData name="Vetrano, Nicole" userId="S::nvetrano@bwh.harvard.edu::251ed28a-7cb2-4cc8-a8b7-59519a3d4894" providerId="AD" clId="Web-{C07BBDB5-4573-4526-88C8-0EF6C24663E9}" dt="2023-02-08T17:58:04.096" v="1" actId="1076"/>
      <pc:docMkLst>
        <pc:docMk/>
      </pc:docMkLst>
      <pc:sldChg chg="addSp modSp">
        <pc:chgData name="Vetrano, Nicole" userId="S::nvetrano@bwh.harvard.edu::251ed28a-7cb2-4cc8-a8b7-59519a3d4894" providerId="AD" clId="Web-{C07BBDB5-4573-4526-88C8-0EF6C24663E9}" dt="2023-02-08T17:58:04.096" v="1" actId="1076"/>
        <pc:sldMkLst>
          <pc:docMk/>
          <pc:sldMk cId="427793889" sldId="3388"/>
        </pc:sldMkLst>
        <pc:picChg chg="add mod">
          <ac:chgData name="Vetrano, Nicole" userId="S::nvetrano@bwh.harvard.edu::251ed28a-7cb2-4cc8-a8b7-59519a3d4894" providerId="AD" clId="Web-{C07BBDB5-4573-4526-88C8-0EF6C24663E9}" dt="2023-02-08T17:58:04.096" v="1" actId="1076"/>
          <ac:picMkLst>
            <pc:docMk/>
            <pc:sldMk cId="427793889" sldId="3388"/>
            <ac:picMk id="3" creationId="{68DB6AAD-BA51-4CF7-E306-1282E4745166}"/>
          </ac:picMkLst>
        </pc:picChg>
      </pc:sldChg>
    </pc:docChg>
  </pc:docChgLst>
  <pc:docChgLst>
    <pc:chgData name="Qureshi, Taj F." userId="e19f8f9a-4b04-4f30-b58a-5b568dd505d5" providerId="ADAL" clId="{0288770C-1911-40D5-A8E0-47AB1F4FAFED}"/>
    <pc:docChg chg="undo custSel modSld">
      <pc:chgData name="Qureshi, Taj F." userId="e19f8f9a-4b04-4f30-b58a-5b568dd505d5" providerId="ADAL" clId="{0288770C-1911-40D5-A8E0-47AB1F4FAFED}" dt="2022-10-17T17:21:38.563" v="331" actId="207"/>
      <pc:docMkLst>
        <pc:docMk/>
      </pc:docMkLst>
      <pc:sldChg chg="modSp mod">
        <pc:chgData name="Qureshi, Taj F." userId="e19f8f9a-4b04-4f30-b58a-5b568dd505d5" providerId="ADAL" clId="{0288770C-1911-40D5-A8E0-47AB1F4FAFED}" dt="2022-09-29T14:44:17.629" v="21" actId="20577"/>
        <pc:sldMkLst>
          <pc:docMk/>
          <pc:sldMk cId="2201927228" sldId="281"/>
        </pc:sldMkLst>
        <pc:spChg chg="mod">
          <ac:chgData name="Qureshi, Taj F." userId="e19f8f9a-4b04-4f30-b58a-5b568dd505d5" providerId="ADAL" clId="{0288770C-1911-40D5-A8E0-47AB1F4FAFED}" dt="2022-09-29T14:44:17.629" v="21" actId="20577"/>
          <ac:spMkLst>
            <pc:docMk/>
            <pc:sldMk cId="2201927228" sldId="281"/>
            <ac:spMk id="7" creationId="{7CC54396-97AB-409E-B850-2AE2619B0508}"/>
          </ac:spMkLst>
        </pc:spChg>
      </pc:sldChg>
      <pc:sldChg chg="modSp mod">
        <pc:chgData name="Qureshi, Taj F." userId="e19f8f9a-4b04-4f30-b58a-5b568dd505d5" providerId="ADAL" clId="{0288770C-1911-40D5-A8E0-47AB1F4FAFED}" dt="2022-09-29T14:44:26.512" v="27" actId="20577"/>
        <pc:sldMkLst>
          <pc:docMk/>
          <pc:sldMk cId="1635790025" sldId="3340"/>
        </pc:sldMkLst>
        <pc:graphicFrameChg chg="modGraphic">
          <ac:chgData name="Qureshi, Taj F." userId="e19f8f9a-4b04-4f30-b58a-5b568dd505d5" providerId="ADAL" clId="{0288770C-1911-40D5-A8E0-47AB1F4FAFED}" dt="2022-09-29T14:44:26.512" v="27" actId="20577"/>
          <ac:graphicFrameMkLst>
            <pc:docMk/>
            <pc:sldMk cId="1635790025" sldId="3340"/>
            <ac:graphicFrameMk id="4" creationId="{9206FA14-07A6-4D4F-8AD6-A1AE43D08CD3}"/>
          </ac:graphicFrameMkLst>
        </pc:graphicFrameChg>
      </pc:sldChg>
      <pc:sldChg chg="addSp modSp mod modNotesTx">
        <pc:chgData name="Qureshi, Taj F." userId="e19f8f9a-4b04-4f30-b58a-5b568dd505d5" providerId="ADAL" clId="{0288770C-1911-40D5-A8E0-47AB1F4FAFED}" dt="2022-10-07T13:46:25.688" v="67" actId="1076"/>
        <pc:sldMkLst>
          <pc:docMk/>
          <pc:sldMk cId="4260925014" sldId="3368"/>
        </pc:sldMkLst>
        <pc:spChg chg="add mod">
          <ac:chgData name="Qureshi, Taj F." userId="e19f8f9a-4b04-4f30-b58a-5b568dd505d5" providerId="ADAL" clId="{0288770C-1911-40D5-A8E0-47AB1F4FAFED}" dt="2022-09-29T14:44:43.651" v="48"/>
          <ac:spMkLst>
            <pc:docMk/>
            <pc:sldMk cId="4260925014" sldId="3368"/>
            <ac:spMk id="6" creationId="{5869A4E9-F0DA-4C97-B055-81D6E68F361E}"/>
          </ac:spMkLst>
        </pc:spChg>
        <pc:picChg chg="mod">
          <ac:chgData name="Qureshi, Taj F." userId="e19f8f9a-4b04-4f30-b58a-5b568dd505d5" providerId="ADAL" clId="{0288770C-1911-40D5-A8E0-47AB1F4FAFED}" dt="2022-10-07T13:46:25.688" v="67" actId="1076"/>
          <ac:picMkLst>
            <pc:docMk/>
            <pc:sldMk cId="4260925014" sldId="3368"/>
            <ac:picMk id="2" creationId="{AAE19A54-26A4-D021-49D6-08382B417677}"/>
          </ac:picMkLst>
        </pc:picChg>
        <pc:picChg chg="mod">
          <ac:chgData name="Qureshi, Taj F." userId="e19f8f9a-4b04-4f30-b58a-5b568dd505d5" providerId="ADAL" clId="{0288770C-1911-40D5-A8E0-47AB1F4FAFED}" dt="2022-10-07T13:46:25.688" v="67" actId="1076"/>
          <ac:picMkLst>
            <pc:docMk/>
            <pc:sldMk cId="4260925014" sldId="3368"/>
            <ac:picMk id="3" creationId="{7F57016A-089F-5B94-E966-6AA3D5A8DBF4}"/>
          </ac:picMkLst>
        </pc:picChg>
        <pc:picChg chg="mod">
          <ac:chgData name="Qureshi, Taj F." userId="e19f8f9a-4b04-4f30-b58a-5b568dd505d5" providerId="ADAL" clId="{0288770C-1911-40D5-A8E0-47AB1F4FAFED}" dt="2022-10-07T13:46:25.688" v="67" actId="1076"/>
          <ac:picMkLst>
            <pc:docMk/>
            <pc:sldMk cId="4260925014" sldId="3368"/>
            <ac:picMk id="5" creationId="{98944371-2B86-3166-7841-CBFB88B13E12}"/>
          </ac:picMkLst>
        </pc:picChg>
        <pc:picChg chg="mod">
          <ac:chgData name="Qureshi, Taj F." userId="e19f8f9a-4b04-4f30-b58a-5b568dd505d5" providerId="ADAL" clId="{0288770C-1911-40D5-A8E0-47AB1F4FAFED}" dt="2022-10-07T13:46:25.688" v="67" actId="1076"/>
          <ac:picMkLst>
            <pc:docMk/>
            <pc:sldMk cId="4260925014" sldId="3368"/>
            <ac:picMk id="7" creationId="{AA77980B-A7A4-7637-3B5E-35BFFB308F96}"/>
          </ac:picMkLst>
        </pc:picChg>
      </pc:sldChg>
      <pc:sldChg chg="addSp modSp mod modNotesTx">
        <pc:chgData name="Qureshi, Taj F." userId="e19f8f9a-4b04-4f30-b58a-5b568dd505d5" providerId="ADAL" clId="{0288770C-1911-40D5-A8E0-47AB1F4FAFED}" dt="2022-10-07T13:46:59.852" v="76" actId="1076"/>
        <pc:sldMkLst>
          <pc:docMk/>
          <pc:sldMk cId="2663093350" sldId="3369"/>
        </pc:sldMkLst>
        <pc:spChg chg="add mod">
          <ac:chgData name="Qureshi, Taj F." userId="e19f8f9a-4b04-4f30-b58a-5b568dd505d5" providerId="ADAL" clId="{0288770C-1911-40D5-A8E0-47AB1F4FAFED}" dt="2022-09-29T14:44:45.105" v="49"/>
          <ac:spMkLst>
            <pc:docMk/>
            <pc:sldMk cId="2663093350" sldId="3369"/>
            <ac:spMk id="8" creationId="{65534B39-306A-4766-9DAB-14CF1267A674}"/>
          </ac:spMkLst>
        </pc:spChg>
        <pc:picChg chg="mod">
          <ac:chgData name="Qureshi, Taj F." userId="e19f8f9a-4b04-4f30-b58a-5b568dd505d5" providerId="ADAL" clId="{0288770C-1911-40D5-A8E0-47AB1F4FAFED}" dt="2022-10-07T13:46:59.852" v="76" actId="1076"/>
          <ac:picMkLst>
            <pc:docMk/>
            <pc:sldMk cId="2663093350" sldId="3369"/>
            <ac:picMk id="2" creationId="{06E4CAFA-415C-AE7D-69FE-E9B50EB903EA}"/>
          </ac:picMkLst>
        </pc:picChg>
        <pc:picChg chg="mod">
          <ac:chgData name="Qureshi, Taj F." userId="e19f8f9a-4b04-4f30-b58a-5b568dd505d5" providerId="ADAL" clId="{0288770C-1911-40D5-A8E0-47AB1F4FAFED}" dt="2022-10-07T13:46:59.852" v="76" actId="1076"/>
          <ac:picMkLst>
            <pc:docMk/>
            <pc:sldMk cId="2663093350" sldId="3369"/>
            <ac:picMk id="3" creationId="{33FF182D-8957-8505-CEF6-CC06EDC0779F}"/>
          </ac:picMkLst>
        </pc:picChg>
        <pc:picChg chg="mod">
          <ac:chgData name="Qureshi, Taj F." userId="e19f8f9a-4b04-4f30-b58a-5b568dd505d5" providerId="ADAL" clId="{0288770C-1911-40D5-A8E0-47AB1F4FAFED}" dt="2022-10-07T13:46:59.852" v="76" actId="1076"/>
          <ac:picMkLst>
            <pc:docMk/>
            <pc:sldMk cId="2663093350" sldId="3369"/>
            <ac:picMk id="5" creationId="{F4DCC82B-49DA-0D7B-BBE0-F724170499CF}"/>
          </ac:picMkLst>
        </pc:picChg>
        <pc:picChg chg="mod">
          <ac:chgData name="Qureshi, Taj F." userId="e19f8f9a-4b04-4f30-b58a-5b568dd505d5" providerId="ADAL" clId="{0288770C-1911-40D5-A8E0-47AB1F4FAFED}" dt="2022-10-07T13:46:59.852" v="76" actId="1076"/>
          <ac:picMkLst>
            <pc:docMk/>
            <pc:sldMk cId="2663093350" sldId="3369"/>
            <ac:picMk id="10" creationId="{12BCBC07-2892-4A55-989E-54731CE76E4B}"/>
          </ac:picMkLst>
        </pc:picChg>
      </pc:sldChg>
      <pc:sldChg chg="addSp modSp mod">
        <pc:chgData name="Qureshi, Taj F." userId="e19f8f9a-4b04-4f30-b58a-5b568dd505d5" providerId="ADAL" clId="{0288770C-1911-40D5-A8E0-47AB1F4FAFED}" dt="2022-10-17T17:21:38.563" v="331" actId="207"/>
        <pc:sldMkLst>
          <pc:docMk/>
          <pc:sldMk cId="427793889" sldId="3388"/>
        </pc:sldMkLst>
        <pc:spChg chg="add mod">
          <ac:chgData name="Qureshi, Taj F." userId="e19f8f9a-4b04-4f30-b58a-5b568dd505d5" providerId="ADAL" clId="{0288770C-1911-40D5-A8E0-47AB1F4FAFED}" dt="2022-09-29T14:44:41.812" v="47" actId="1076"/>
          <ac:spMkLst>
            <pc:docMk/>
            <pc:sldMk cId="427793889" sldId="3388"/>
            <ac:spMk id="2" creationId="{13AEB2A1-05BC-44DE-B5FF-4958017B9A5A}"/>
          </ac:spMkLst>
        </pc:spChg>
        <pc:spChg chg="add mod">
          <ac:chgData name="Qureshi, Taj F." userId="e19f8f9a-4b04-4f30-b58a-5b568dd505d5" providerId="ADAL" clId="{0288770C-1911-40D5-A8E0-47AB1F4FAFED}" dt="2022-10-17T17:21:38.563" v="331" actId="207"/>
          <ac:spMkLst>
            <pc:docMk/>
            <pc:sldMk cId="427793889" sldId="3388"/>
            <ac:spMk id="2" creationId="{726D40D7-73CF-4DAE-8DC7-C09F11F18632}"/>
          </ac:spMkLst>
        </pc:spChg>
      </pc:sldChg>
      <pc:sldChg chg="addSp modSp mod">
        <pc:chgData name="Qureshi, Taj F." userId="e19f8f9a-4b04-4f30-b58a-5b568dd505d5" providerId="ADAL" clId="{0288770C-1911-40D5-A8E0-47AB1F4FAFED}" dt="2022-10-07T13:47:16.833" v="79" actId="1076"/>
        <pc:sldMkLst>
          <pc:docMk/>
          <pc:sldMk cId="240661228" sldId="3423"/>
        </pc:sldMkLst>
        <pc:spChg chg="add mod">
          <ac:chgData name="Qureshi, Taj F." userId="e19f8f9a-4b04-4f30-b58a-5b568dd505d5" providerId="ADAL" clId="{0288770C-1911-40D5-A8E0-47AB1F4FAFED}" dt="2022-09-29T14:44:46.439" v="50"/>
          <ac:spMkLst>
            <pc:docMk/>
            <pc:sldMk cId="240661228" sldId="3423"/>
            <ac:spMk id="5" creationId="{96A7B82D-BFF5-4E5E-B4CB-6106238F6766}"/>
          </ac:spMkLst>
        </pc:spChg>
        <pc:picChg chg="mod modCrop">
          <ac:chgData name="Qureshi, Taj F." userId="e19f8f9a-4b04-4f30-b58a-5b568dd505d5" providerId="ADAL" clId="{0288770C-1911-40D5-A8E0-47AB1F4FAFED}" dt="2022-10-07T13:47:16.833" v="79" actId="1076"/>
          <ac:picMkLst>
            <pc:docMk/>
            <pc:sldMk cId="240661228" sldId="3423"/>
            <ac:picMk id="2" creationId="{6AB8B6EE-263C-847A-9EBF-39D15AB4C54F}"/>
          </ac:picMkLst>
        </pc:picChg>
      </pc:sldChg>
      <pc:sldChg chg="addSp modSp">
        <pc:chgData name="Qureshi, Taj F." userId="e19f8f9a-4b04-4f30-b58a-5b568dd505d5" providerId="ADAL" clId="{0288770C-1911-40D5-A8E0-47AB1F4FAFED}" dt="2022-09-29T14:44:49.428" v="52"/>
        <pc:sldMkLst>
          <pc:docMk/>
          <pc:sldMk cId="2157829121" sldId="3500"/>
        </pc:sldMkLst>
        <pc:spChg chg="add mod">
          <ac:chgData name="Qureshi, Taj F." userId="e19f8f9a-4b04-4f30-b58a-5b568dd505d5" providerId="ADAL" clId="{0288770C-1911-40D5-A8E0-47AB1F4FAFED}" dt="2022-09-29T14:44:49.428" v="52"/>
          <ac:spMkLst>
            <pc:docMk/>
            <pc:sldMk cId="2157829121" sldId="3500"/>
            <ac:spMk id="4" creationId="{79E3C1E5-2690-4642-BB97-FC938D65DD8D}"/>
          </ac:spMkLst>
        </pc:spChg>
      </pc:sldChg>
      <pc:sldChg chg="addSp modSp mod">
        <pc:chgData name="Qureshi, Taj F." userId="e19f8f9a-4b04-4f30-b58a-5b568dd505d5" providerId="ADAL" clId="{0288770C-1911-40D5-A8E0-47AB1F4FAFED}" dt="2022-10-07T13:47:31.164" v="81" actId="1076"/>
        <pc:sldMkLst>
          <pc:docMk/>
          <pc:sldMk cId="3640228099" sldId="3536"/>
        </pc:sldMkLst>
        <pc:spChg chg="add mod">
          <ac:chgData name="Qureshi, Taj F." userId="e19f8f9a-4b04-4f30-b58a-5b568dd505d5" providerId="ADAL" clId="{0288770C-1911-40D5-A8E0-47AB1F4FAFED}" dt="2022-09-29T14:44:47.947" v="51"/>
          <ac:spMkLst>
            <pc:docMk/>
            <pc:sldMk cId="3640228099" sldId="3536"/>
            <ac:spMk id="6" creationId="{B30C158B-79D5-4C0E-93EB-21856C8ED290}"/>
          </ac:spMkLst>
        </pc:spChg>
        <pc:picChg chg="mod">
          <ac:chgData name="Qureshi, Taj F." userId="e19f8f9a-4b04-4f30-b58a-5b568dd505d5" providerId="ADAL" clId="{0288770C-1911-40D5-A8E0-47AB1F4FAFED}" dt="2022-10-07T13:47:31.164" v="81" actId="1076"/>
          <ac:picMkLst>
            <pc:docMk/>
            <pc:sldMk cId="3640228099" sldId="3536"/>
            <ac:picMk id="2" creationId="{A97A92FA-04AD-2AE9-A845-1823BA17B33F}"/>
          </ac:picMkLst>
        </pc:picChg>
      </pc:sldChg>
      <pc:sldChg chg="addSp delSp modSp mod">
        <pc:chgData name="Qureshi, Taj F." userId="e19f8f9a-4b04-4f30-b58a-5b568dd505d5" providerId="ADAL" clId="{0288770C-1911-40D5-A8E0-47AB1F4FAFED}" dt="2022-10-07T13:48:22.758" v="89" actId="1076"/>
        <pc:sldMkLst>
          <pc:docMk/>
          <pc:sldMk cId="3537679081" sldId="3537"/>
        </pc:sldMkLst>
        <pc:spChg chg="add mod">
          <ac:chgData name="Qureshi, Taj F." userId="e19f8f9a-4b04-4f30-b58a-5b568dd505d5" providerId="ADAL" clId="{0288770C-1911-40D5-A8E0-47AB1F4FAFED}" dt="2022-09-29T14:44:52.149" v="53"/>
          <ac:spMkLst>
            <pc:docMk/>
            <pc:sldMk cId="3537679081" sldId="3537"/>
            <ac:spMk id="6" creationId="{02AEB444-E062-4097-BE74-289169A409E1}"/>
          </ac:spMkLst>
        </pc:spChg>
        <pc:picChg chg="mod">
          <ac:chgData name="Qureshi, Taj F." userId="e19f8f9a-4b04-4f30-b58a-5b568dd505d5" providerId="ADAL" clId="{0288770C-1911-40D5-A8E0-47AB1F4FAFED}" dt="2022-10-07T13:48:07.105" v="85" actId="1076"/>
          <ac:picMkLst>
            <pc:docMk/>
            <pc:sldMk cId="3537679081" sldId="3537"/>
            <ac:picMk id="2" creationId="{30E05E60-C183-EFD0-FD90-706AF60BDBD9}"/>
          </ac:picMkLst>
        </pc:picChg>
        <pc:picChg chg="mod modCrop">
          <ac:chgData name="Qureshi, Taj F." userId="e19f8f9a-4b04-4f30-b58a-5b568dd505d5" providerId="ADAL" clId="{0288770C-1911-40D5-A8E0-47AB1F4FAFED}" dt="2022-10-07T13:48:22.758" v="89" actId="1076"/>
          <ac:picMkLst>
            <pc:docMk/>
            <pc:sldMk cId="3537679081" sldId="3537"/>
            <ac:picMk id="4" creationId="{6B102E23-0B77-410C-BB7C-2D4E7889B3C9}"/>
          </ac:picMkLst>
        </pc:picChg>
        <pc:picChg chg="del">
          <ac:chgData name="Qureshi, Taj F." userId="e19f8f9a-4b04-4f30-b58a-5b568dd505d5" providerId="ADAL" clId="{0288770C-1911-40D5-A8E0-47AB1F4FAFED}" dt="2022-10-07T13:48:02.326" v="84" actId="478"/>
          <ac:picMkLst>
            <pc:docMk/>
            <pc:sldMk cId="3537679081" sldId="3537"/>
            <ac:picMk id="14" creationId="{4FC8ACDD-0FCF-43BC-88FE-750FC7CFD093}"/>
          </ac:picMkLst>
        </pc:picChg>
      </pc:sldChg>
      <pc:sldChg chg="addSp modSp mod">
        <pc:chgData name="Qureshi, Taj F." userId="e19f8f9a-4b04-4f30-b58a-5b568dd505d5" providerId="ADAL" clId="{0288770C-1911-40D5-A8E0-47AB1F4FAFED}" dt="2022-10-07T14:05:04.312" v="275" actId="20577"/>
        <pc:sldMkLst>
          <pc:docMk/>
          <pc:sldMk cId="142062400" sldId="3538"/>
        </pc:sldMkLst>
        <pc:spChg chg="add mod">
          <ac:chgData name="Qureshi, Taj F." userId="e19f8f9a-4b04-4f30-b58a-5b568dd505d5" providerId="ADAL" clId="{0288770C-1911-40D5-A8E0-47AB1F4FAFED}" dt="2022-09-29T14:44:53.635" v="54"/>
          <ac:spMkLst>
            <pc:docMk/>
            <pc:sldMk cId="142062400" sldId="3538"/>
            <ac:spMk id="5" creationId="{C53EE74E-721F-435F-B7F4-851A1C90EA9B}"/>
          </ac:spMkLst>
        </pc:spChg>
        <pc:spChg chg="add mod">
          <ac:chgData name="Qureshi, Taj F." userId="e19f8f9a-4b04-4f30-b58a-5b568dd505d5" providerId="ADAL" clId="{0288770C-1911-40D5-A8E0-47AB1F4FAFED}" dt="2022-10-07T14:01:18.579" v="107" actId="1582"/>
          <ac:spMkLst>
            <pc:docMk/>
            <pc:sldMk cId="142062400" sldId="3538"/>
            <ac:spMk id="5" creationId="{E3E4EA69-4C59-4043-9674-386FB1E075D2}"/>
          </ac:spMkLst>
        </pc:spChg>
        <pc:spChg chg="add mod">
          <ac:chgData name="Qureshi, Taj F." userId="e19f8f9a-4b04-4f30-b58a-5b568dd505d5" providerId="ADAL" clId="{0288770C-1911-40D5-A8E0-47AB1F4FAFED}" dt="2022-10-07T14:05:04.312" v="275" actId="20577"/>
          <ac:spMkLst>
            <pc:docMk/>
            <pc:sldMk cId="142062400" sldId="3538"/>
            <ac:spMk id="7" creationId="{74320071-A61E-4CD3-888D-B9D5B71ED84D}"/>
          </ac:spMkLst>
        </pc:spChg>
        <pc:spChg chg="add mod">
          <ac:chgData name="Qureshi, Taj F." userId="e19f8f9a-4b04-4f30-b58a-5b568dd505d5" providerId="ADAL" clId="{0288770C-1911-40D5-A8E0-47AB1F4FAFED}" dt="2022-10-07T14:01:50.042" v="113" actId="1036"/>
          <ac:spMkLst>
            <pc:docMk/>
            <pc:sldMk cId="142062400" sldId="3538"/>
            <ac:spMk id="10" creationId="{963FA788-CEB9-449A-91BC-DA8A20631209}"/>
          </ac:spMkLst>
        </pc:spChg>
        <pc:spChg chg="add mod">
          <ac:chgData name="Qureshi, Taj F." userId="e19f8f9a-4b04-4f30-b58a-5b568dd505d5" providerId="ADAL" clId="{0288770C-1911-40D5-A8E0-47AB1F4FAFED}" dt="2022-10-07T14:03:11.012" v="233" actId="114"/>
          <ac:spMkLst>
            <pc:docMk/>
            <pc:sldMk cId="142062400" sldId="3538"/>
            <ac:spMk id="11" creationId="{10E89F49-4310-4669-9770-AA83E86CD086}"/>
          </ac:spMkLst>
        </pc:spChg>
        <pc:picChg chg="mod">
          <ac:chgData name="Qureshi, Taj F." userId="e19f8f9a-4b04-4f30-b58a-5b568dd505d5" providerId="ADAL" clId="{0288770C-1911-40D5-A8E0-47AB1F4FAFED}" dt="2022-10-07T13:48:40.330" v="90" actId="1076"/>
          <ac:picMkLst>
            <pc:docMk/>
            <pc:sldMk cId="142062400" sldId="3538"/>
            <ac:picMk id="2" creationId="{0DB42742-861F-8C0E-9925-003F5402E2BB}"/>
          </ac:picMkLst>
        </pc:picChg>
        <pc:picChg chg="mod modCrop">
          <ac:chgData name="Qureshi, Taj F." userId="e19f8f9a-4b04-4f30-b58a-5b568dd505d5" providerId="ADAL" clId="{0288770C-1911-40D5-A8E0-47AB1F4FAFED}" dt="2022-10-07T13:49:10.937" v="98" actId="1076"/>
          <ac:picMkLst>
            <pc:docMk/>
            <pc:sldMk cId="142062400" sldId="3538"/>
            <ac:picMk id="4" creationId="{07AA0F58-618F-49DE-95CB-E87396DD74FC}"/>
          </ac:picMkLst>
        </pc:picChg>
      </pc:sldChg>
    </pc:docChg>
  </pc:docChgLst>
  <pc:docChgLst>
    <pc:chgData name="Burns, Zoe" userId="S::zburns@bwh.harvard.edu::5c1af9cc-e00d-46a3-bd66-bd9e026b0426" providerId="AD" clId="Web-{F099C3AB-DD42-34E5-18C9-A10ABD48D4C7}"/>
    <pc:docChg chg="modSld">
      <pc:chgData name="Burns, Zoe" userId="S::zburns@bwh.harvard.edu::5c1af9cc-e00d-46a3-bd66-bd9e026b0426" providerId="AD" clId="Web-{F099C3AB-DD42-34E5-18C9-A10ABD48D4C7}" dt="2022-12-08T14:18:25.159" v="0" actId="1076"/>
      <pc:docMkLst>
        <pc:docMk/>
      </pc:docMkLst>
      <pc:sldChg chg="modSp">
        <pc:chgData name="Burns, Zoe" userId="S::zburns@bwh.harvard.edu::5c1af9cc-e00d-46a3-bd66-bd9e026b0426" providerId="AD" clId="Web-{F099C3AB-DD42-34E5-18C9-A10ABD48D4C7}" dt="2022-12-08T14:18:25.159" v="0" actId="1076"/>
        <pc:sldMkLst>
          <pc:docMk/>
          <pc:sldMk cId="2157829121" sldId="3500"/>
        </pc:sldMkLst>
        <pc:spChg chg="mod">
          <ac:chgData name="Burns, Zoe" userId="S::zburns@bwh.harvard.edu::5c1af9cc-e00d-46a3-bd66-bd9e026b0426" providerId="AD" clId="Web-{F099C3AB-DD42-34E5-18C9-A10ABD48D4C7}" dt="2022-12-08T14:18:25.159" v="0" actId="1076"/>
          <ac:spMkLst>
            <pc:docMk/>
            <pc:sldMk cId="2157829121" sldId="3500"/>
            <ac:spMk id="4" creationId="{5991A4CB-6524-44B0-B4F9-C612BCF04D71}"/>
          </ac:spMkLst>
        </pc:spChg>
      </pc:sldChg>
    </pc:docChg>
  </pc:docChgLst>
  <pc:docChgLst>
    <pc:chgData name="Vetrano, Nicole" userId="S::nvetrano@bwh.harvard.edu::251ed28a-7cb2-4cc8-a8b7-59519a3d4894" providerId="AD" clId="Web-{09105A59-E1F0-4347-AA90-B4C6C7787669}"/>
    <pc:docChg chg="modSld">
      <pc:chgData name="Vetrano, Nicole" userId="S::nvetrano@bwh.harvard.edu::251ed28a-7cb2-4cc8-a8b7-59519a3d4894" providerId="AD" clId="Web-{09105A59-E1F0-4347-AA90-B4C6C7787669}" dt="2023-02-03T18:02:14.059" v="129" actId="1076"/>
      <pc:docMkLst>
        <pc:docMk/>
      </pc:docMkLst>
      <pc:sldChg chg="addSp delSp modSp">
        <pc:chgData name="Vetrano, Nicole" userId="S::nvetrano@bwh.harvard.edu::251ed28a-7cb2-4cc8-a8b7-59519a3d4894" providerId="AD" clId="Web-{09105A59-E1F0-4347-AA90-B4C6C7787669}" dt="2023-02-03T18:02:14.059" v="129" actId="1076"/>
        <pc:sldMkLst>
          <pc:docMk/>
          <pc:sldMk cId="2663093350" sldId="3369"/>
        </pc:sldMkLst>
        <pc:spChg chg="add mod">
          <ac:chgData name="Vetrano, Nicole" userId="S::nvetrano@bwh.harvard.edu::251ed28a-7cb2-4cc8-a8b7-59519a3d4894" providerId="AD" clId="Web-{09105A59-E1F0-4347-AA90-B4C6C7787669}" dt="2023-02-03T17:53:27.919" v="60" actId="1076"/>
          <ac:spMkLst>
            <pc:docMk/>
            <pc:sldMk cId="2663093350" sldId="3369"/>
            <ac:spMk id="6" creationId="{C5E59100-365B-ACD0-A928-B3DDC6FD43CD}"/>
          </ac:spMkLst>
        </pc:spChg>
        <pc:spChg chg="add del mod">
          <ac:chgData name="Vetrano, Nicole" userId="S::nvetrano@bwh.harvard.edu::251ed28a-7cb2-4cc8-a8b7-59519a3d4894" providerId="AD" clId="Web-{09105A59-E1F0-4347-AA90-B4C6C7787669}" dt="2023-02-03T18:01:44.542" v="124"/>
          <ac:spMkLst>
            <pc:docMk/>
            <pc:sldMk cId="2663093350" sldId="3369"/>
            <ac:spMk id="8" creationId="{E0A66261-1248-9BB4-2952-74A9AD5BA4CC}"/>
          </ac:spMkLst>
        </pc:spChg>
        <pc:picChg chg="mod modCrop">
          <ac:chgData name="Vetrano, Nicole" userId="S::nvetrano@bwh.harvard.edu::251ed28a-7cb2-4cc8-a8b7-59519a3d4894" providerId="AD" clId="Web-{09105A59-E1F0-4347-AA90-B4C6C7787669}" dt="2023-02-03T17:53:16.871" v="59"/>
          <ac:picMkLst>
            <pc:docMk/>
            <pc:sldMk cId="2663093350" sldId="3369"/>
            <ac:picMk id="2" creationId="{A3D6019F-BA97-8D58-BDF3-DF18D8E9C039}"/>
          </ac:picMkLst>
        </pc:picChg>
        <pc:picChg chg="del mod modCrop">
          <ac:chgData name="Vetrano, Nicole" userId="S::nvetrano@bwh.harvard.edu::251ed28a-7cb2-4cc8-a8b7-59519a3d4894" providerId="AD" clId="Web-{09105A59-E1F0-4347-AA90-B4C6C7787669}" dt="2023-02-03T18:01:42.886" v="123"/>
          <ac:picMkLst>
            <pc:docMk/>
            <pc:sldMk cId="2663093350" sldId="3369"/>
            <ac:picMk id="3" creationId="{A4E9A5ED-47DC-00D4-ECB3-E367924D47B1}"/>
          </ac:picMkLst>
        </pc:picChg>
        <pc:picChg chg="add mod">
          <ac:chgData name="Vetrano, Nicole" userId="S::nvetrano@bwh.harvard.edu::251ed28a-7cb2-4cc8-a8b7-59519a3d4894" providerId="AD" clId="Web-{09105A59-E1F0-4347-AA90-B4C6C7787669}" dt="2023-02-03T18:02:14.059" v="129" actId="1076"/>
          <ac:picMkLst>
            <pc:docMk/>
            <pc:sldMk cId="2663093350" sldId="3369"/>
            <ac:picMk id="9" creationId="{A7D11675-29DA-9723-3B43-8A62B1DE056D}"/>
          </ac:picMkLst>
        </pc:picChg>
      </pc:sldChg>
      <pc:sldChg chg="addSp delSp modSp">
        <pc:chgData name="Vetrano, Nicole" userId="S::nvetrano@bwh.harvard.edu::251ed28a-7cb2-4cc8-a8b7-59519a3d4894" providerId="AD" clId="Web-{09105A59-E1F0-4347-AA90-B4C6C7787669}" dt="2023-02-03T18:01:37.230" v="122" actId="1076"/>
        <pc:sldMkLst>
          <pc:docMk/>
          <pc:sldMk cId="240661228" sldId="3423"/>
        </pc:sldMkLst>
        <pc:picChg chg="del">
          <ac:chgData name="Vetrano, Nicole" userId="S::nvetrano@bwh.harvard.edu::251ed28a-7cb2-4cc8-a8b7-59519a3d4894" providerId="AD" clId="Web-{09105A59-E1F0-4347-AA90-B4C6C7787669}" dt="2023-02-03T18:01:18.088" v="118"/>
          <ac:picMkLst>
            <pc:docMk/>
            <pc:sldMk cId="240661228" sldId="3423"/>
            <ac:picMk id="2" creationId="{F028B415-B702-713E-07F0-459ED1F201AE}"/>
          </ac:picMkLst>
        </pc:picChg>
        <pc:picChg chg="add mod">
          <ac:chgData name="Vetrano, Nicole" userId="S::nvetrano@bwh.harvard.edu::251ed28a-7cb2-4cc8-a8b7-59519a3d4894" providerId="AD" clId="Web-{09105A59-E1F0-4347-AA90-B4C6C7787669}" dt="2023-02-03T18:01:37.230" v="122" actId="1076"/>
          <ac:picMkLst>
            <pc:docMk/>
            <pc:sldMk cId="240661228" sldId="3423"/>
            <ac:picMk id="4" creationId="{DBB3BF75-3C59-81CB-0DAA-59CDCCAA2101}"/>
          </ac:picMkLst>
        </pc:picChg>
      </pc:sldChg>
      <pc:sldChg chg="addSp delSp modSp">
        <pc:chgData name="Vetrano, Nicole" userId="S::nvetrano@bwh.harvard.edu::251ed28a-7cb2-4cc8-a8b7-59519a3d4894" providerId="AD" clId="Web-{09105A59-E1F0-4347-AA90-B4C6C7787669}" dt="2023-02-03T18:01:12.682" v="117" actId="1076"/>
        <pc:sldMkLst>
          <pc:docMk/>
          <pc:sldMk cId="3640228099" sldId="3536"/>
        </pc:sldMkLst>
        <pc:picChg chg="add mod">
          <ac:chgData name="Vetrano, Nicole" userId="S::nvetrano@bwh.harvard.edu::251ed28a-7cb2-4cc8-a8b7-59519a3d4894" providerId="AD" clId="Web-{09105A59-E1F0-4347-AA90-B4C6C7787669}" dt="2023-02-03T18:01:12.682" v="117" actId="1076"/>
          <ac:picMkLst>
            <pc:docMk/>
            <pc:sldMk cId="3640228099" sldId="3536"/>
            <ac:picMk id="2" creationId="{593B02E9-B374-EA37-EC4B-6AD0BEF89A0F}"/>
          </ac:picMkLst>
        </pc:picChg>
        <pc:picChg chg="del">
          <ac:chgData name="Vetrano, Nicole" userId="S::nvetrano@bwh.harvard.edu::251ed28a-7cb2-4cc8-a8b7-59519a3d4894" providerId="AD" clId="Web-{09105A59-E1F0-4347-AA90-B4C6C7787669}" dt="2023-02-03T18:00:57.432" v="109"/>
          <ac:picMkLst>
            <pc:docMk/>
            <pc:sldMk cId="3640228099" sldId="3536"/>
            <ac:picMk id="3" creationId="{59FBEB26-3974-0BF8-F4F6-DB63B11090B0}"/>
          </ac:picMkLst>
        </pc:picChg>
        <pc:picChg chg="del">
          <ac:chgData name="Vetrano, Nicole" userId="S::nvetrano@bwh.harvard.edu::251ed28a-7cb2-4cc8-a8b7-59519a3d4894" providerId="AD" clId="Web-{09105A59-E1F0-4347-AA90-B4C6C7787669}" dt="2023-02-03T18:01:00.650" v="111"/>
          <ac:picMkLst>
            <pc:docMk/>
            <pc:sldMk cId="3640228099" sldId="3536"/>
            <ac:picMk id="5" creationId="{EBB966DD-2E5B-412C-91E1-3B060AFA95DC}"/>
          </ac:picMkLst>
        </pc:picChg>
      </pc:sldChg>
      <pc:sldChg chg="addSp delSp modSp">
        <pc:chgData name="Vetrano, Nicole" userId="S::nvetrano@bwh.harvard.edu::251ed28a-7cb2-4cc8-a8b7-59519a3d4894" providerId="AD" clId="Web-{09105A59-E1F0-4347-AA90-B4C6C7787669}" dt="2023-02-03T18:00:34.462" v="108" actId="1076"/>
        <pc:sldMkLst>
          <pc:docMk/>
          <pc:sldMk cId="3537679081" sldId="3537"/>
        </pc:sldMkLst>
        <pc:spChg chg="add mod">
          <ac:chgData name="Vetrano, Nicole" userId="S::nvetrano@bwh.harvard.edu::251ed28a-7cb2-4cc8-a8b7-59519a3d4894" providerId="AD" clId="Web-{09105A59-E1F0-4347-AA90-B4C6C7787669}" dt="2023-02-03T18:00:34.462" v="108" actId="1076"/>
          <ac:spMkLst>
            <pc:docMk/>
            <pc:sldMk cId="3537679081" sldId="3537"/>
            <ac:spMk id="6" creationId="{2B62D525-5C8E-D7F8-E99C-9A4C8116A0D4}"/>
          </ac:spMkLst>
        </pc:spChg>
        <pc:picChg chg="del">
          <ac:chgData name="Vetrano, Nicole" userId="S::nvetrano@bwh.harvard.edu::251ed28a-7cb2-4cc8-a8b7-59519a3d4894" providerId="AD" clId="Web-{09105A59-E1F0-4347-AA90-B4C6C7787669}" dt="2023-02-03T17:59:51.492" v="97"/>
          <ac:picMkLst>
            <pc:docMk/>
            <pc:sldMk cId="3537679081" sldId="3537"/>
            <ac:picMk id="2" creationId="{CEEE73C7-19EB-E764-CF55-3558BDF36039}"/>
          </ac:picMkLst>
        </pc:picChg>
        <pc:picChg chg="add mod">
          <ac:chgData name="Vetrano, Nicole" userId="S::nvetrano@bwh.harvard.edu::251ed28a-7cb2-4cc8-a8b7-59519a3d4894" providerId="AD" clId="Web-{09105A59-E1F0-4347-AA90-B4C6C7787669}" dt="2023-02-03T18:00:19.821" v="100" actId="1076"/>
          <ac:picMkLst>
            <pc:docMk/>
            <pc:sldMk cId="3537679081" sldId="3537"/>
            <ac:picMk id="3" creationId="{552F7FF4-5E8D-0F83-FA73-D507E7E68CA6}"/>
          </ac:picMkLst>
        </pc:picChg>
      </pc:sldChg>
      <pc:sldChg chg="addSp modSp">
        <pc:chgData name="Vetrano, Nicole" userId="S::nvetrano@bwh.harvard.edu::251ed28a-7cb2-4cc8-a8b7-59519a3d4894" providerId="AD" clId="Web-{09105A59-E1F0-4347-AA90-B4C6C7787669}" dt="2023-02-03T17:51:54.838" v="37" actId="20577"/>
        <pc:sldMkLst>
          <pc:docMk/>
          <pc:sldMk cId="2053167649" sldId="3539"/>
        </pc:sldMkLst>
        <pc:spChg chg="add mod">
          <ac:chgData name="Vetrano, Nicole" userId="S::nvetrano@bwh.harvard.edu::251ed28a-7cb2-4cc8-a8b7-59519a3d4894" providerId="AD" clId="Web-{09105A59-E1F0-4347-AA90-B4C6C7787669}" dt="2023-02-03T17:51:51.306" v="36" actId="20577"/>
          <ac:spMkLst>
            <pc:docMk/>
            <pc:sldMk cId="2053167649" sldId="3539"/>
            <ac:spMk id="3" creationId="{D4F5B5A4-A1AF-582C-C1C6-830C394E44A9}"/>
          </ac:spMkLst>
        </pc:spChg>
        <pc:spChg chg="mod">
          <ac:chgData name="Vetrano, Nicole" userId="S::nvetrano@bwh.harvard.edu::251ed28a-7cb2-4cc8-a8b7-59519a3d4894" providerId="AD" clId="Web-{09105A59-E1F0-4347-AA90-B4C6C7787669}" dt="2023-02-03T17:51:54.838" v="37" actId="20577"/>
          <ac:spMkLst>
            <pc:docMk/>
            <pc:sldMk cId="2053167649" sldId="3539"/>
            <ac:spMk id="7" creationId="{EA560B82-95F8-FDF1-81C7-B38247CC422F}"/>
          </ac:spMkLst>
        </pc:spChg>
        <pc:picChg chg="mod modCrop">
          <ac:chgData name="Vetrano, Nicole" userId="S::nvetrano@bwh.harvard.edu::251ed28a-7cb2-4cc8-a8b7-59519a3d4894" providerId="AD" clId="Web-{09105A59-E1F0-4347-AA90-B4C6C7787669}" dt="2023-02-03T17:51:24.665" v="28"/>
          <ac:picMkLst>
            <pc:docMk/>
            <pc:sldMk cId="2053167649" sldId="3539"/>
            <ac:picMk id="4" creationId="{AAB3B1F3-BD4D-8EAB-2286-AAB185DAC8AC}"/>
          </ac:picMkLst>
        </pc:picChg>
        <pc:picChg chg="mod modCrop">
          <ac:chgData name="Vetrano, Nicole" userId="S::nvetrano@bwh.harvard.edu::251ed28a-7cb2-4cc8-a8b7-59519a3d4894" providerId="AD" clId="Web-{09105A59-E1F0-4347-AA90-B4C6C7787669}" dt="2023-02-03T17:51:10.008" v="25"/>
          <ac:picMkLst>
            <pc:docMk/>
            <pc:sldMk cId="2053167649" sldId="3539"/>
            <ac:picMk id="6" creationId="{D04B400A-9BA2-D331-3B72-4604F453622C}"/>
          </ac:picMkLst>
        </pc:picChg>
      </pc:sldChg>
      <pc:sldChg chg="addSp delSp modSp modCm">
        <pc:chgData name="Vetrano, Nicole" userId="S::nvetrano@bwh.harvard.edu::251ed28a-7cb2-4cc8-a8b7-59519a3d4894" providerId="AD" clId="Web-{09105A59-E1F0-4347-AA90-B4C6C7787669}" dt="2023-02-03T17:59:46.929" v="96" actId="1076"/>
        <pc:sldMkLst>
          <pc:docMk/>
          <pc:sldMk cId="3467862585" sldId="3540"/>
        </pc:sldMkLst>
        <pc:spChg chg="add mod">
          <ac:chgData name="Vetrano, Nicole" userId="S::nvetrano@bwh.harvard.edu::251ed28a-7cb2-4cc8-a8b7-59519a3d4894" providerId="AD" clId="Web-{09105A59-E1F0-4347-AA90-B4C6C7787669}" dt="2023-02-03T17:59:46.929" v="96" actId="1076"/>
          <ac:spMkLst>
            <pc:docMk/>
            <pc:sldMk cId="3467862585" sldId="3540"/>
            <ac:spMk id="5" creationId="{4D194D00-D1E6-9962-1887-B5C3C9CCC1B3}"/>
          </ac:spMkLst>
        </pc:spChg>
        <pc:spChg chg="mod">
          <ac:chgData name="Vetrano, Nicole" userId="S::nvetrano@bwh.harvard.edu::251ed28a-7cb2-4cc8-a8b7-59519a3d4894" providerId="AD" clId="Web-{09105A59-E1F0-4347-AA90-B4C6C7787669}" dt="2023-02-03T17:59:08.460" v="76" actId="1076"/>
          <ac:spMkLst>
            <pc:docMk/>
            <pc:sldMk cId="3467862585" sldId="3540"/>
            <ac:spMk id="12" creationId="{E931ECAC-1903-9B4A-925F-095BA5528FD2}"/>
          </ac:spMkLst>
        </pc:spChg>
        <pc:spChg chg="mod">
          <ac:chgData name="Vetrano, Nicole" userId="S::nvetrano@bwh.harvard.edu::251ed28a-7cb2-4cc8-a8b7-59519a3d4894" providerId="AD" clId="Web-{09105A59-E1F0-4347-AA90-B4C6C7787669}" dt="2023-02-03T17:59:23.273" v="80" actId="1076"/>
          <ac:spMkLst>
            <pc:docMk/>
            <pc:sldMk cId="3467862585" sldId="3540"/>
            <ac:spMk id="13" creationId="{2775D1DB-8625-5301-8570-3B4F1AA57106}"/>
          </ac:spMkLst>
        </pc:spChg>
        <pc:picChg chg="add mod ord">
          <ac:chgData name="Vetrano, Nicole" userId="S::nvetrano@bwh.harvard.edu::251ed28a-7cb2-4cc8-a8b7-59519a3d4894" providerId="AD" clId="Web-{09105A59-E1F0-4347-AA90-B4C6C7787669}" dt="2023-02-03T17:59:19.804" v="79" actId="1076"/>
          <ac:picMkLst>
            <pc:docMk/>
            <pc:sldMk cId="3467862585" sldId="3540"/>
            <ac:picMk id="2" creationId="{91366211-3E6E-34AD-0D21-0D09FAED0854}"/>
          </ac:picMkLst>
        </pc:picChg>
        <pc:picChg chg="del">
          <ac:chgData name="Vetrano, Nicole" userId="S::nvetrano@bwh.harvard.edu::251ed28a-7cb2-4cc8-a8b7-59519a3d4894" providerId="AD" clId="Web-{09105A59-E1F0-4347-AA90-B4C6C7787669}" dt="2023-02-03T17:58:50.272" v="67"/>
          <ac:picMkLst>
            <pc:docMk/>
            <pc:sldMk cId="3467862585" sldId="3540"/>
            <ac:picMk id="3" creationId="{80005DCD-44F6-90C0-BDFB-08EAE0F05F11}"/>
          </ac:picMkLst>
        </pc:picChg>
      </pc:sldChg>
    </pc:docChg>
  </pc:docChgLst>
  <pc:docChgLst>
    <pc:chgData name="Vetrano, Nicole" userId="S::nvetrano@bwh.harvard.edu::251ed28a-7cb2-4cc8-a8b7-59519a3d4894" providerId="AD" clId="Web-{137D8C7E-2A77-4DF9-8F67-1B4BAD3EA9F9}"/>
    <pc:docChg chg="modSld">
      <pc:chgData name="Vetrano, Nicole" userId="S::nvetrano@bwh.harvard.edu::251ed28a-7cb2-4cc8-a8b7-59519a3d4894" providerId="AD" clId="Web-{137D8C7E-2A77-4DF9-8F67-1B4BAD3EA9F9}" dt="2023-02-02T20:30:53.931" v="116"/>
      <pc:docMkLst>
        <pc:docMk/>
      </pc:docMkLst>
      <pc:sldChg chg="addSp delSp modSp">
        <pc:chgData name="Vetrano, Nicole" userId="S::nvetrano@bwh.harvard.edu::251ed28a-7cb2-4cc8-a8b7-59519a3d4894" providerId="AD" clId="Web-{137D8C7E-2A77-4DF9-8F67-1B4BAD3EA9F9}" dt="2023-02-02T20:19:28.126" v="65" actId="14100"/>
        <pc:sldMkLst>
          <pc:docMk/>
          <pc:sldMk cId="2663093350" sldId="3369"/>
        </pc:sldMkLst>
        <pc:spChg chg="del">
          <ac:chgData name="Vetrano, Nicole" userId="S::nvetrano@bwh.harvard.edu::251ed28a-7cb2-4cc8-a8b7-59519a3d4894" providerId="AD" clId="Web-{137D8C7E-2A77-4DF9-8F67-1B4BAD3EA9F9}" dt="2023-02-02T20:16:48.167" v="31"/>
          <ac:spMkLst>
            <pc:docMk/>
            <pc:sldMk cId="2663093350" sldId="3369"/>
            <ac:spMk id="6" creationId="{1815D071-5420-4ECC-9FB4-45882A9E35EB}"/>
          </ac:spMkLst>
        </pc:spChg>
        <pc:picChg chg="del">
          <ac:chgData name="Vetrano, Nicole" userId="S::nvetrano@bwh.harvard.edu::251ed28a-7cb2-4cc8-a8b7-59519a3d4894" providerId="AD" clId="Web-{137D8C7E-2A77-4DF9-8F67-1B4BAD3EA9F9}" dt="2023-02-02T20:16:48.761" v="32"/>
          <ac:picMkLst>
            <pc:docMk/>
            <pc:sldMk cId="2663093350" sldId="3369"/>
            <ac:picMk id="2" creationId="{EFEAB405-9C0D-90BC-ABD4-4E092DB4454F}"/>
          </ac:picMkLst>
        </pc:picChg>
        <pc:picChg chg="add del mod">
          <ac:chgData name="Vetrano, Nicole" userId="S::nvetrano@bwh.harvard.edu::251ed28a-7cb2-4cc8-a8b7-59519a3d4894" providerId="AD" clId="Web-{137D8C7E-2A77-4DF9-8F67-1B4BAD3EA9F9}" dt="2023-02-02T20:18:04.498" v="38"/>
          <ac:picMkLst>
            <pc:docMk/>
            <pc:sldMk cId="2663093350" sldId="3369"/>
            <ac:picMk id="3" creationId="{2990C597-1089-7948-C1CB-3A8BD9529F85}"/>
          </ac:picMkLst>
        </pc:picChg>
        <pc:picChg chg="del">
          <ac:chgData name="Vetrano, Nicole" userId="S::nvetrano@bwh.harvard.edu::251ed28a-7cb2-4cc8-a8b7-59519a3d4894" providerId="AD" clId="Web-{137D8C7E-2A77-4DF9-8F67-1B4BAD3EA9F9}" dt="2023-02-02T20:16:49.339" v="33"/>
          <ac:picMkLst>
            <pc:docMk/>
            <pc:sldMk cId="2663093350" sldId="3369"/>
            <ac:picMk id="4" creationId="{6813C4EE-654A-4B2A-9584-A9ECFB501E8B}"/>
          </ac:picMkLst>
        </pc:picChg>
        <pc:picChg chg="add del mod">
          <ac:chgData name="Vetrano, Nicole" userId="S::nvetrano@bwh.harvard.edu::251ed28a-7cb2-4cc8-a8b7-59519a3d4894" providerId="AD" clId="Web-{137D8C7E-2A77-4DF9-8F67-1B4BAD3EA9F9}" dt="2023-02-02T20:18:05.795" v="42"/>
          <ac:picMkLst>
            <pc:docMk/>
            <pc:sldMk cId="2663093350" sldId="3369"/>
            <ac:picMk id="5" creationId="{1C737C97-9F4C-850F-E498-0AF372CBAB2B}"/>
          </ac:picMkLst>
        </pc:picChg>
        <pc:picChg chg="add mod">
          <ac:chgData name="Vetrano, Nicole" userId="S::nvetrano@bwh.harvard.edu::251ed28a-7cb2-4cc8-a8b7-59519a3d4894" providerId="AD" clId="Web-{137D8C7E-2A77-4DF9-8F67-1B4BAD3EA9F9}" dt="2023-02-02T20:18:06.951" v="47" actId="1076"/>
          <ac:picMkLst>
            <pc:docMk/>
            <pc:sldMk cId="2663093350" sldId="3369"/>
            <ac:picMk id="7" creationId="{5D7C4DE8-88C9-60AE-C531-52982F0E29A5}"/>
          </ac:picMkLst>
        </pc:picChg>
        <pc:picChg chg="add mod">
          <ac:chgData name="Vetrano, Nicole" userId="S::nvetrano@bwh.harvard.edu::251ed28a-7cb2-4cc8-a8b7-59519a3d4894" providerId="AD" clId="Web-{137D8C7E-2A77-4DF9-8F67-1B4BAD3EA9F9}" dt="2023-02-02T20:18:11.639" v="50" actId="1076"/>
          <ac:picMkLst>
            <pc:docMk/>
            <pc:sldMk cId="2663093350" sldId="3369"/>
            <ac:picMk id="8" creationId="{B8558EB9-8238-2992-3EBF-E7800334208C}"/>
          </ac:picMkLst>
        </pc:picChg>
        <pc:picChg chg="add mod">
          <ac:chgData name="Vetrano, Nicole" userId="S::nvetrano@bwh.harvard.edu::251ed28a-7cb2-4cc8-a8b7-59519a3d4894" providerId="AD" clId="Web-{137D8C7E-2A77-4DF9-8F67-1B4BAD3EA9F9}" dt="2023-02-02T20:19:28.126" v="65" actId="14100"/>
          <ac:picMkLst>
            <pc:docMk/>
            <pc:sldMk cId="2663093350" sldId="3369"/>
            <ac:picMk id="9" creationId="{D7977D15-6ADD-391C-A750-0ACAF67B139E}"/>
          </ac:picMkLst>
        </pc:picChg>
      </pc:sldChg>
      <pc:sldChg chg="addSp delSp modSp">
        <pc:chgData name="Vetrano, Nicole" userId="S::nvetrano@bwh.harvard.edu::251ed28a-7cb2-4cc8-a8b7-59519a3d4894" providerId="AD" clId="Web-{137D8C7E-2A77-4DF9-8F67-1B4BAD3EA9F9}" dt="2023-02-02T20:14:45.663" v="16" actId="1076"/>
        <pc:sldMkLst>
          <pc:docMk/>
          <pc:sldMk cId="427793889" sldId="3388"/>
        </pc:sldMkLst>
        <pc:spChg chg="del">
          <ac:chgData name="Vetrano, Nicole" userId="S::nvetrano@bwh.harvard.edu::251ed28a-7cb2-4cc8-a8b7-59519a3d4894" providerId="AD" clId="Web-{137D8C7E-2A77-4DF9-8F67-1B4BAD3EA9F9}" dt="2023-02-02T20:12:29.455" v="0"/>
          <ac:spMkLst>
            <pc:docMk/>
            <pc:sldMk cId="427793889" sldId="3388"/>
            <ac:spMk id="2" creationId="{02C6AE1A-E096-41A1-B3B8-C2DB80FCD5EA}"/>
          </ac:spMkLst>
        </pc:spChg>
        <pc:picChg chg="add del mod">
          <ac:chgData name="Vetrano, Nicole" userId="S::nvetrano@bwh.harvard.edu::251ed28a-7cb2-4cc8-a8b7-59519a3d4894" providerId="AD" clId="Web-{137D8C7E-2A77-4DF9-8F67-1B4BAD3EA9F9}" dt="2023-02-02T20:12:53.253" v="9"/>
          <ac:picMkLst>
            <pc:docMk/>
            <pc:sldMk cId="427793889" sldId="3388"/>
            <ac:picMk id="3" creationId="{7D833E76-600D-17A5-AE9C-4A524335D857}"/>
          </ac:picMkLst>
        </pc:picChg>
        <pc:picChg chg="del">
          <ac:chgData name="Vetrano, Nicole" userId="S::nvetrano@bwh.harvard.edu::251ed28a-7cb2-4cc8-a8b7-59519a3d4894" providerId="AD" clId="Web-{137D8C7E-2A77-4DF9-8F67-1B4BAD3EA9F9}" dt="2023-02-02T20:12:30.424" v="1"/>
          <ac:picMkLst>
            <pc:docMk/>
            <pc:sldMk cId="427793889" sldId="3388"/>
            <ac:picMk id="4" creationId="{03CF88B6-2736-AC7C-076E-1AD2BB793A12}"/>
          </ac:picMkLst>
        </pc:picChg>
        <pc:picChg chg="add mod">
          <ac:chgData name="Vetrano, Nicole" userId="S::nvetrano@bwh.harvard.edu::251ed28a-7cb2-4cc8-a8b7-59519a3d4894" providerId="AD" clId="Web-{137D8C7E-2A77-4DF9-8F67-1B4BAD3EA9F9}" dt="2023-02-02T20:14:45.663" v="16" actId="1076"/>
          <ac:picMkLst>
            <pc:docMk/>
            <pc:sldMk cId="427793889" sldId="3388"/>
            <ac:picMk id="5" creationId="{8031F3B2-5420-25CD-F9E2-051E8E3A967D}"/>
          </ac:picMkLst>
        </pc:picChg>
      </pc:sldChg>
      <pc:sldChg chg="addSp delSp modSp">
        <pc:chgData name="Vetrano, Nicole" userId="S::nvetrano@bwh.harvard.edu::251ed28a-7cb2-4cc8-a8b7-59519a3d4894" providerId="AD" clId="Web-{137D8C7E-2A77-4DF9-8F67-1B4BAD3EA9F9}" dt="2023-02-02T20:20:14.049" v="77" actId="1076"/>
        <pc:sldMkLst>
          <pc:docMk/>
          <pc:sldMk cId="240661228" sldId="3423"/>
        </pc:sldMkLst>
        <pc:spChg chg="del">
          <ac:chgData name="Vetrano, Nicole" userId="S::nvetrano@bwh.harvard.edu::251ed28a-7cb2-4cc8-a8b7-59519a3d4894" providerId="AD" clId="Web-{137D8C7E-2A77-4DF9-8F67-1B4BAD3EA9F9}" dt="2023-02-02T20:19:32.626" v="66"/>
          <ac:spMkLst>
            <pc:docMk/>
            <pc:sldMk cId="240661228" sldId="3423"/>
            <ac:spMk id="6" creationId="{19293A17-A386-4B25-9784-0717DE4E3FEB}"/>
          </ac:spMkLst>
        </pc:spChg>
        <pc:picChg chg="del">
          <ac:chgData name="Vetrano, Nicole" userId="S::nvetrano@bwh.harvard.edu::251ed28a-7cb2-4cc8-a8b7-59519a3d4894" providerId="AD" clId="Web-{137D8C7E-2A77-4DF9-8F67-1B4BAD3EA9F9}" dt="2023-02-02T20:19:33.454" v="67"/>
          <ac:picMkLst>
            <pc:docMk/>
            <pc:sldMk cId="240661228" sldId="3423"/>
            <ac:picMk id="2" creationId="{F5366A50-5E5C-BD8E-98CF-5EC17B75475C}"/>
          </ac:picMkLst>
        </pc:picChg>
        <pc:picChg chg="add mod">
          <ac:chgData name="Vetrano, Nicole" userId="S::nvetrano@bwh.harvard.edu::251ed28a-7cb2-4cc8-a8b7-59519a3d4894" providerId="AD" clId="Web-{137D8C7E-2A77-4DF9-8F67-1B4BAD3EA9F9}" dt="2023-02-02T20:19:56.424" v="73" actId="14100"/>
          <ac:picMkLst>
            <pc:docMk/>
            <pc:sldMk cId="240661228" sldId="3423"/>
            <ac:picMk id="3" creationId="{9176AFC6-9CE6-73A8-5612-CF3203E2E600}"/>
          </ac:picMkLst>
        </pc:picChg>
        <pc:picChg chg="add mod">
          <ac:chgData name="Vetrano, Nicole" userId="S::nvetrano@bwh.harvard.edu::251ed28a-7cb2-4cc8-a8b7-59519a3d4894" providerId="AD" clId="Web-{137D8C7E-2A77-4DF9-8F67-1B4BAD3EA9F9}" dt="2023-02-02T20:20:14.049" v="77" actId="1076"/>
          <ac:picMkLst>
            <pc:docMk/>
            <pc:sldMk cId="240661228" sldId="3423"/>
            <ac:picMk id="4" creationId="{62A37B24-1F88-E327-4A45-9A45110CA65E}"/>
          </ac:picMkLst>
        </pc:picChg>
      </pc:sldChg>
      <pc:sldChg chg="delSp modSp">
        <pc:chgData name="Vetrano, Nicole" userId="S::nvetrano@bwh.harvard.edu::251ed28a-7cb2-4cc8-a8b7-59519a3d4894" providerId="AD" clId="Web-{137D8C7E-2A77-4DF9-8F67-1B4BAD3EA9F9}" dt="2023-02-02T20:29:35.553" v="113" actId="20577"/>
        <pc:sldMkLst>
          <pc:docMk/>
          <pc:sldMk cId="2157829121" sldId="3500"/>
        </pc:sldMkLst>
        <pc:spChg chg="mod">
          <ac:chgData name="Vetrano, Nicole" userId="S::nvetrano@bwh.harvard.edu::251ed28a-7cb2-4cc8-a8b7-59519a3d4894" providerId="AD" clId="Web-{137D8C7E-2A77-4DF9-8F67-1B4BAD3EA9F9}" dt="2023-02-02T20:29:35.553" v="113" actId="20577"/>
          <ac:spMkLst>
            <pc:docMk/>
            <pc:sldMk cId="2157829121" sldId="3500"/>
            <ac:spMk id="3" creationId="{DC1FB5CC-EE33-4D67-A5D0-01136FFFBE11}"/>
          </ac:spMkLst>
        </pc:spChg>
        <pc:spChg chg="del">
          <ac:chgData name="Vetrano, Nicole" userId="S::nvetrano@bwh.harvard.edu::251ed28a-7cb2-4cc8-a8b7-59519a3d4894" providerId="AD" clId="Web-{137D8C7E-2A77-4DF9-8F67-1B4BAD3EA9F9}" dt="2023-02-02T20:20:52.301" v="90"/>
          <ac:spMkLst>
            <pc:docMk/>
            <pc:sldMk cId="2157829121" sldId="3500"/>
            <ac:spMk id="4" creationId="{F4DF30F5-46E1-4AB5-8103-AFA649738008}"/>
          </ac:spMkLst>
        </pc:spChg>
      </pc:sldChg>
      <pc:sldChg chg="addSp delSp modSp">
        <pc:chgData name="Vetrano, Nicole" userId="S::nvetrano@bwh.harvard.edu::251ed28a-7cb2-4cc8-a8b7-59519a3d4894" providerId="AD" clId="Web-{137D8C7E-2A77-4DF9-8F67-1B4BAD3EA9F9}" dt="2023-02-02T20:20:48.394" v="89" actId="1076"/>
        <pc:sldMkLst>
          <pc:docMk/>
          <pc:sldMk cId="3640228099" sldId="3536"/>
        </pc:sldMkLst>
        <pc:spChg chg="del">
          <ac:chgData name="Vetrano, Nicole" userId="S::nvetrano@bwh.harvard.edu::251ed28a-7cb2-4cc8-a8b7-59519a3d4894" providerId="AD" clId="Web-{137D8C7E-2A77-4DF9-8F67-1B4BAD3EA9F9}" dt="2023-02-02T20:20:18.018" v="79"/>
          <ac:spMkLst>
            <pc:docMk/>
            <pc:sldMk cId="3640228099" sldId="3536"/>
            <ac:spMk id="10" creationId="{B0942A72-D242-4E3F-9107-9C5810C9EA7D}"/>
          </ac:spMkLst>
        </pc:spChg>
        <pc:picChg chg="del">
          <ac:chgData name="Vetrano, Nicole" userId="S::nvetrano@bwh.harvard.edu::251ed28a-7cb2-4cc8-a8b7-59519a3d4894" providerId="AD" clId="Web-{137D8C7E-2A77-4DF9-8F67-1B4BAD3EA9F9}" dt="2023-02-02T20:20:16.456" v="78"/>
          <ac:picMkLst>
            <pc:docMk/>
            <pc:sldMk cId="3640228099" sldId="3536"/>
            <ac:picMk id="2" creationId="{2C37B5D8-DF87-CC16-96CE-D734F818ED11}"/>
          </ac:picMkLst>
        </pc:picChg>
        <pc:picChg chg="add mod">
          <ac:chgData name="Vetrano, Nicole" userId="S::nvetrano@bwh.harvard.edu::251ed28a-7cb2-4cc8-a8b7-59519a3d4894" providerId="AD" clId="Web-{137D8C7E-2A77-4DF9-8F67-1B4BAD3EA9F9}" dt="2023-02-02T20:20:48.394" v="89" actId="1076"/>
          <ac:picMkLst>
            <pc:docMk/>
            <pc:sldMk cId="3640228099" sldId="3536"/>
            <ac:picMk id="3" creationId="{59FBEB26-3974-0BF8-F4F6-DB63B11090B0}"/>
          </ac:picMkLst>
        </pc:picChg>
        <pc:picChg chg="del">
          <ac:chgData name="Vetrano, Nicole" userId="S::nvetrano@bwh.harvard.edu::251ed28a-7cb2-4cc8-a8b7-59519a3d4894" providerId="AD" clId="Web-{137D8C7E-2A77-4DF9-8F67-1B4BAD3EA9F9}" dt="2023-02-02T20:20:37.691" v="84"/>
          <ac:picMkLst>
            <pc:docMk/>
            <pc:sldMk cId="3640228099" sldId="3536"/>
            <ac:picMk id="5" creationId="{8444857F-2E62-435A-B49C-9358FA35628B}"/>
          </ac:picMkLst>
        </pc:picChg>
        <pc:picChg chg="del">
          <ac:chgData name="Vetrano, Nicole" userId="S::nvetrano@bwh.harvard.edu::251ed28a-7cb2-4cc8-a8b7-59519a3d4894" providerId="AD" clId="Web-{137D8C7E-2A77-4DF9-8F67-1B4BAD3EA9F9}" dt="2023-02-02T20:20:36.831" v="83"/>
          <ac:picMkLst>
            <pc:docMk/>
            <pc:sldMk cId="3640228099" sldId="3536"/>
            <ac:picMk id="6" creationId="{72BC782A-46B9-4B0B-8FDB-4D4525351BBF}"/>
          </ac:picMkLst>
        </pc:picChg>
      </pc:sldChg>
      <pc:sldChg chg="addSp delSp modSp">
        <pc:chgData name="Vetrano, Nicole" userId="S::nvetrano@bwh.harvard.edu::251ed28a-7cb2-4cc8-a8b7-59519a3d4894" providerId="AD" clId="Web-{137D8C7E-2A77-4DF9-8F67-1B4BAD3EA9F9}" dt="2023-02-02T20:30:53.931" v="116"/>
        <pc:sldMkLst>
          <pc:docMk/>
          <pc:sldMk cId="3537679081" sldId="3537"/>
        </pc:sldMkLst>
        <pc:spChg chg="del">
          <ac:chgData name="Vetrano, Nicole" userId="S::nvetrano@bwh.harvard.edu::251ed28a-7cb2-4cc8-a8b7-59519a3d4894" providerId="AD" clId="Web-{137D8C7E-2A77-4DF9-8F67-1B4BAD3EA9F9}" dt="2023-02-02T20:29:38.678" v="114"/>
          <ac:spMkLst>
            <pc:docMk/>
            <pc:sldMk cId="3537679081" sldId="3537"/>
            <ac:spMk id="6" creationId="{5DC8CB5B-BD83-48B8-856A-9642ADAE0AF5}"/>
          </ac:spMkLst>
        </pc:spChg>
        <pc:picChg chg="del">
          <ac:chgData name="Vetrano, Nicole" userId="S::nvetrano@bwh.harvard.edu::251ed28a-7cb2-4cc8-a8b7-59519a3d4894" providerId="AD" clId="Web-{137D8C7E-2A77-4DF9-8F67-1B4BAD3EA9F9}" dt="2023-02-02T20:29:41.538" v="115"/>
          <ac:picMkLst>
            <pc:docMk/>
            <pc:sldMk cId="3537679081" sldId="3537"/>
            <ac:picMk id="2" creationId="{A7434592-A866-F887-497C-CE1EDDAB0842}"/>
          </ac:picMkLst>
        </pc:picChg>
        <pc:picChg chg="add mod">
          <ac:chgData name="Vetrano, Nicole" userId="S::nvetrano@bwh.harvard.edu::251ed28a-7cb2-4cc8-a8b7-59519a3d4894" providerId="AD" clId="Web-{137D8C7E-2A77-4DF9-8F67-1B4BAD3EA9F9}" dt="2023-02-02T20:30:53.931" v="116"/>
          <ac:picMkLst>
            <pc:docMk/>
            <pc:sldMk cId="3537679081" sldId="3537"/>
            <ac:picMk id="3" creationId="{4906675B-437C-4612-1A01-9EF05F83A474}"/>
          </ac:picMkLst>
        </pc:picChg>
      </pc:sldChg>
      <pc:sldChg chg="addSp delSp modSp">
        <pc:chgData name="Vetrano, Nicole" userId="S::nvetrano@bwh.harvard.edu::251ed28a-7cb2-4cc8-a8b7-59519a3d4894" providerId="AD" clId="Web-{137D8C7E-2A77-4DF9-8F67-1B4BAD3EA9F9}" dt="2023-02-02T20:19:01.234" v="59" actId="1076"/>
        <pc:sldMkLst>
          <pc:docMk/>
          <pc:sldMk cId="2053167649" sldId="3539"/>
        </pc:sldMkLst>
        <pc:spChg chg="del">
          <ac:chgData name="Vetrano, Nicole" userId="S::nvetrano@bwh.harvard.edu::251ed28a-7cb2-4cc8-a8b7-59519a3d4894" providerId="AD" clId="Web-{137D8C7E-2A77-4DF9-8F67-1B4BAD3EA9F9}" dt="2023-02-02T20:14:49.147" v="17"/>
          <ac:spMkLst>
            <pc:docMk/>
            <pc:sldMk cId="2053167649" sldId="3539"/>
            <ac:spMk id="6" creationId="{D7267970-6CB1-4A23-ACCA-8FAF62A61CA6}"/>
          </ac:spMkLst>
        </pc:spChg>
        <pc:picChg chg="del">
          <ac:chgData name="Vetrano, Nicole" userId="S::nvetrano@bwh.harvard.edu::251ed28a-7cb2-4cc8-a8b7-59519a3d4894" providerId="AD" clId="Web-{137D8C7E-2A77-4DF9-8F67-1B4BAD3EA9F9}" dt="2023-02-02T20:14:50.319" v="18"/>
          <ac:picMkLst>
            <pc:docMk/>
            <pc:sldMk cId="2053167649" sldId="3539"/>
            <ac:picMk id="2" creationId="{510B37C2-0A4B-02D3-B5D8-6D804ED7A6F2}"/>
          </ac:picMkLst>
        </pc:picChg>
        <pc:picChg chg="add mod modCrop">
          <ac:chgData name="Vetrano, Nicole" userId="S::nvetrano@bwh.harvard.edu::251ed28a-7cb2-4cc8-a8b7-59519a3d4894" providerId="AD" clId="Web-{137D8C7E-2A77-4DF9-8F67-1B4BAD3EA9F9}" dt="2023-02-02T20:18:38.983" v="55" actId="14100"/>
          <ac:picMkLst>
            <pc:docMk/>
            <pc:sldMk cId="2053167649" sldId="3539"/>
            <ac:picMk id="3" creationId="{FC41BD7D-CBDF-EAC8-1A91-3194C3121582}"/>
          </ac:picMkLst>
        </pc:picChg>
        <pc:picChg chg="del">
          <ac:chgData name="Vetrano, Nicole" userId="S::nvetrano@bwh.harvard.edu::251ed28a-7cb2-4cc8-a8b7-59519a3d4894" providerId="AD" clId="Web-{137D8C7E-2A77-4DF9-8F67-1B4BAD3EA9F9}" dt="2023-02-02T20:15:12.445" v="19"/>
          <ac:picMkLst>
            <pc:docMk/>
            <pc:sldMk cId="2053167649" sldId="3539"/>
            <ac:picMk id="4" creationId="{34BFEA1B-CEA9-E4B1-9DE7-C7C4C5E8077C}"/>
          </ac:picMkLst>
        </pc:picChg>
        <pc:picChg chg="add mod">
          <ac:chgData name="Vetrano, Nicole" userId="S::nvetrano@bwh.harvard.edu::251ed28a-7cb2-4cc8-a8b7-59519a3d4894" providerId="AD" clId="Web-{137D8C7E-2A77-4DF9-8F67-1B4BAD3EA9F9}" dt="2023-02-02T20:16:39.010" v="30" actId="14100"/>
          <ac:picMkLst>
            <pc:docMk/>
            <pc:sldMk cId="2053167649" sldId="3539"/>
            <ac:picMk id="7" creationId="{0E619B7E-8494-2242-754F-B1F9E5A5CFD1}"/>
          </ac:picMkLst>
        </pc:picChg>
        <pc:picChg chg="add mod">
          <ac:chgData name="Vetrano, Nicole" userId="S::nvetrano@bwh.harvard.edu::251ed28a-7cb2-4cc8-a8b7-59519a3d4894" providerId="AD" clId="Web-{137D8C7E-2A77-4DF9-8F67-1B4BAD3EA9F9}" dt="2023-02-02T20:19:01.234" v="59" actId="1076"/>
          <ac:picMkLst>
            <pc:docMk/>
            <pc:sldMk cId="2053167649" sldId="3539"/>
            <ac:picMk id="8" creationId="{0D7E8EC7-C841-E95A-EC25-3606EAF8264F}"/>
          </ac:picMkLst>
        </pc:picChg>
      </pc:sldChg>
    </pc:docChg>
  </pc:docChgLst>
  <pc:docChgLst>
    <pc:chgData name="Qureshi, Taj F." userId="e19f8f9a-4b04-4f30-b58a-5b568dd505d5" providerId="ADAL" clId="{B44C3207-85DA-4E5A-9683-50EDE19D4D7E}"/>
    <pc:docChg chg="modSld">
      <pc:chgData name="Qureshi, Taj F." userId="e19f8f9a-4b04-4f30-b58a-5b568dd505d5" providerId="ADAL" clId="{B44C3207-85DA-4E5A-9683-50EDE19D4D7E}" dt="2023-03-08T19:06:38.373" v="50" actId="20577"/>
      <pc:docMkLst>
        <pc:docMk/>
      </pc:docMkLst>
      <pc:sldChg chg="modSp mod">
        <pc:chgData name="Qureshi, Taj F." userId="e19f8f9a-4b04-4f30-b58a-5b568dd505d5" providerId="ADAL" clId="{B44C3207-85DA-4E5A-9683-50EDE19D4D7E}" dt="2023-02-28T16:22:27.413" v="4" actId="20577"/>
        <pc:sldMkLst>
          <pc:docMk/>
          <pc:sldMk cId="2201927228" sldId="281"/>
        </pc:sldMkLst>
        <pc:spChg chg="mod">
          <ac:chgData name="Qureshi, Taj F." userId="e19f8f9a-4b04-4f30-b58a-5b568dd505d5" providerId="ADAL" clId="{B44C3207-85DA-4E5A-9683-50EDE19D4D7E}" dt="2023-02-28T16:22:27.413" v="4" actId="20577"/>
          <ac:spMkLst>
            <pc:docMk/>
            <pc:sldMk cId="2201927228" sldId="281"/>
            <ac:spMk id="7" creationId="{7CC54396-97AB-409E-B850-2AE2619B0508}"/>
          </ac:spMkLst>
        </pc:spChg>
      </pc:sldChg>
      <pc:sldChg chg="modSp mod">
        <pc:chgData name="Qureshi, Taj F." userId="e19f8f9a-4b04-4f30-b58a-5b568dd505d5" providerId="ADAL" clId="{B44C3207-85DA-4E5A-9683-50EDE19D4D7E}" dt="2023-02-28T16:22:31.736" v="6" actId="20577"/>
        <pc:sldMkLst>
          <pc:docMk/>
          <pc:sldMk cId="1635790025" sldId="3340"/>
        </pc:sldMkLst>
        <pc:graphicFrameChg chg="modGraphic">
          <ac:chgData name="Qureshi, Taj F." userId="e19f8f9a-4b04-4f30-b58a-5b568dd505d5" providerId="ADAL" clId="{B44C3207-85DA-4E5A-9683-50EDE19D4D7E}" dt="2023-02-28T16:22:31.736" v="6" actId="20577"/>
          <ac:graphicFrameMkLst>
            <pc:docMk/>
            <pc:sldMk cId="1635790025" sldId="3340"/>
            <ac:graphicFrameMk id="4" creationId="{9206FA14-07A6-4D4F-8AD6-A1AE43D08CD3}"/>
          </ac:graphicFrameMkLst>
        </pc:graphicFrameChg>
      </pc:sldChg>
      <pc:sldChg chg="addSp modSp mod">
        <pc:chgData name="Qureshi, Taj F." userId="e19f8f9a-4b04-4f30-b58a-5b568dd505d5" providerId="ADAL" clId="{B44C3207-85DA-4E5A-9683-50EDE19D4D7E}" dt="2023-03-08T19:06:13.373" v="46" actId="14100"/>
        <pc:sldMkLst>
          <pc:docMk/>
          <pc:sldMk cId="2663093350" sldId="3369"/>
        </pc:sldMkLst>
        <pc:spChg chg="add mod">
          <ac:chgData name="Qureshi, Taj F." userId="e19f8f9a-4b04-4f30-b58a-5b568dd505d5" providerId="ADAL" clId="{B44C3207-85DA-4E5A-9683-50EDE19D4D7E}" dt="2023-02-28T16:22:59.091" v="39"/>
          <ac:spMkLst>
            <pc:docMk/>
            <pc:sldMk cId="2663093350" sldId="3369"/>
            <ac:spMk id="8" creationId="{D7BA66CB-8436-495D-97B6-5A52D9F0828B}"/>
          </ac:spMkLst>
        </pc:spChg>
        <pc:picChg chg="mod">
          <ac:chgData name="Qureshi, Taj F." userId="e19f8f9a-4b04-4f30-b58a-5b568dd505d5" providerId="ADAL" clId="{B44C3207-85DA-4E5A-9683-50EDE19D4D7E}" dt="2023-03-08T19:06:13.373" v="46" actId="14100"/>
          <ac:picMkLst>
            <pc:docMk/>
            <pc:sldMk cId="2663093350" sldId="3369"/>
            <ac:picMk id="5" creationId="{C1ED60C1-C310-6E47-8590-83080295EE12}"/>
          </ac:picMkLst>
        </pc:picChg>
      </pc:sldChg>
      <pc:sldChg chg="addSp modSp mod">
        <pc:chgData name="Qureshi, Taj F." userId="e19f8f9a-4b04-4f30-b58a-5b568dd505d5" providerId="ADAL" clId="{B44C3207-85DA-4E5A-9683-50EDE19D4D7E}" dt="2023-02-28T16:22:56.027" v="38" actId="1076"/>
        <pc:sldMkLst>
          <pc:docMk/>
          <pc:sldMk cId="427793889" sldId="3388"/>
        </pc:sldMkLst>
        <pc:spChg chg="add mod">
          <ac:chgData name="Qureshi, Taj F." userId="e19f8f9a-4b04-4f30-b58a-5b568dd505d5" providerId="ADAL" clId="{B44C3207-85DA-4E5A-9683-50EDE19D4D7E}" dt="2023-02-28T16:22:56.027" v="38" actId="1076"/>
          <ac:spMkLst>
            <pc:docMk/>
            <pc:sldMk cId="427793889" sldId="3388"/>
            <ac:spMk id="4" creationId="{EF29A5FF-47A0-4CD6-B6BD-0A416C7E02B2}"/>
          </ac:spMkLst>
        </pc:spChg>
      </pc:sldChg>
      <pc:sldChg chg="addSp modSp">
        <pc:chgData name="Qureshi, Taj F." userId="e19f8f9a-4b04-4f30-b58a-5b568dd505d5" providerId="ADAL" clId="{B44C3207-85DA-4E5A-9683-50EDE19D4D7E}" dt="2023-02-28T16:23:02.033" v="41"/>
        <pc:sldMkLst>
          <pc:docMk/>
          <pc:sldMk cId="240661228" sldId="3423"/>
        </pc:sldMkLst>
        <pc:spChg chg="add mod">
          <ac:chgData name="Qureshi, Taj F." userId="e19f8f9a-4b04-4f30-b58a-5b568dd505d5" providerId="ADAL" clId="{B44C3207-85DA-4E5A-9683-50EDE19D4D7E}" dt="2023-02-28T16:23:02.033" v="41"/>
          <ac:spMkLst>
            <pc:docMk/>
            <pc:sldMk cId="240661228" sldId="3423"/>
            <ac:spMk id="6" creationId="{D21B9DCE-66C9-4EA3-873E-C7C61B86BD8D}"/>
          </ac:spMkLst>
        </pc:spChg>
      </pc:sldChg>
      <pc:sldChg chg="addSp modSp">
        <pc:chgData name="Qureshi, Taj F." userId="e19f8f9a-4b04-4f30-b58a-5b568dd505d5" providerId="ADAL" clId="{B44C3207-85DA-4E5A-9683-50EDE19D4D7E}" dt="2023-02-28T16:23:05.404" v="43"/>
        <pc:sldMkLst>
          <pc:docMk/>
          <pc:sldMk cId="2157829121" sldId="3500"/>
        </pc:sldMkLst>
        <pc:spChg chg="add mod">
          <ac:chgData name="Qureshi, Taj F." userId="e19f8f9a-4b04-4f30-b58a-5b568dd505d5" providerId="ADAL" clId="{B44C3207-85DA-4E5A-9683-50EDE19D4D7E}" dt="2023-02-28T16:23:05.404" v="43"/>
          <ac:spMkLst>
            <pc:docMk/>
            <pc:sldMk cId="2157829121" sldId="3500"/>
            <ac:spMk id="4" creationId="{504C23A2-7F47-404E-B845-D4FF1472A196}"/>
          </ac:spMkLst>
        </pc:spChg>
      </pc:sldChg>
      <pc:sldChg chg="addSp modSp">
        <pc:chgData name="Qureshi, Taj F." userId="e19f8f9a-4b04-4f30-b58a-5b568dd505d5" providerId="ADAL" clId="{B44C3207-85DA-4E5A-9683-50EDE19D4D7E}" dt="2023-02-28T16:23:03.540" v="42"/>
        <pc:sldMkLst>
          <pc:docMk/>
          <pc:sldMk cId="3640228099" sldId="3536"/>
        </pc:sldMkLst>
        <pc:spChg chg="add mod">
          <ac:chgData name="Qureshi, Taj F." userId="e19f8f9a-4b04-4f30-b58a-5b568dd505d5" providerId="ADAL" clId="{B44C3207-85DA-4E5A-9683-50EDE19D4D7E}" dt="2023-02-28T16:23:03.540" v="42"/>
          <ac:spMkLst>
            <pc:docMk/>
            <pc:sldMk cId="3640228099" sldId="3536"/>
            <ac:spMk id="10" creationId="{F25E45FB-DB66-4539-A69C-82A5F6D9287F}"/>
          </ac:spMkLst>
        </pc:spChg>
      </pc:sldChg>
      <pc:sldChg chg="addSp modSp">
        <pc:chgData name="Qureshi, Taj F." userId="e19f8f9a-4b04-4f30-b58a-5b568dd505d5" providerId="ADAL" clId="{B44C3207-85DA-4E5A-9683-50EDE19D4D7E}" dt="2023-02-28T16:23:10.320" v="44"/>
        <pc:sldMkLst>
          <pc:docMk/>
          <pc:sldMk cId="3537679081" sldId="3537"/>
        </pc:sldMkLst>
        <pc:spChg chg="add mod">
          <ac:chgData name="Qureshi, Taj F." userId="e19f8f9a-4b04-4f30-b58a-5b568dd505d5" providerId="ADAL" clId="{B44C3207-85DA-4E5A-9683-50EDE19D4D7E}" dt="2023-02-28T16:23:10.320" v="44"/>
          <ac:spMkLst>
            <pc:docMk/>
            <pc:sldMk cId="3537679081" sldId="3537"/>
            <ac:spMk id="7" creationId="{1D4D44F0-CC50-4F5A-A73E-23468A653A35}"/>
          </ac:spMkLst>
        </pc:spChg>
      </pc:sldChg>
      <pc:sldChg chg="addSp modSp modNotesTx">
        <pc:chgData name="Qureshi, Taj F." userId="e19f8f9a-4b04-4f30-b58a-5b568dd505d5" providerId="ADAL" clId="{B44C3207-85DA-4E5A-9683-50EDE19D4D7E}" dt="2023-03-08T19:06:38.373" v="50" actId="20577"/>
        <pc:sldMkLst>
          <pc:docMk/>
          <pc:sldMk cId="2053167649" sldId="3539"/>
        </pc:sldMkLst>
        <pc:spChg chg="add mod">
          <ac:chgData name="Qureshi, Taj F." userId="e19f8f9a-4b04-4f30-b58a-5b568dd505d5" providerId="ADAL" clId="{B44C3207-85DA-4E5A-9683-50EDE19D4D7E}" dt="2023-02-28T16:23:00.568" v="40"/>
          <ac:spMkLst>
            <pc:docMk/>
            <pc:sldMk cId="2053167649" sldId="3539"/>
            <ac:spMk id="7" creationId="{D4A0E6E0-37E0-4EAB-8C62-C2697787E2DC}"/>
          </ac:spMkLst>
        </pc:spChg>
      </pc:sldChg>
      <pc:sldChg chg="addSp modSp">
        <pc:chgData name="Qureshi, Taj F." userId="e19f8f9a-4b04-4f30-b58a-5b568dd505d5" providerId="ADAL" clId="{B44C3207-85DA-4E5A-9683-50EDE19D4D7E}" dt="2023-02-28T16:23:12.017" v="45"/>
        <pc:sldMkLst>
          <pc:docMk/>
          <pc:sldMk cId="3467862585" sldId="3540"/>
        </pc:sldMkLst>
        <pc:spChg chg="add mod">
          <ac:chgData name="Qureshi, Taj F." userId="e19f8f9a-4b04-4f30-b58a-5b568dd505d5" providerId="ADAL" clId="{B44C3207-85DA-4E5A-9683-50EDE19D4D7E}" dt="2023-02-28T16:23:12.017" v="45"/>
          <ac:spMkLst>
            <pc:docMk/>
            <pc:sldMk cId="3467862585" sldId="3540"/>
            <ac:spMk id="11" creationId="{73614219-7EA0-41D2-970A-D4ADA7A5A095}"/>
          </ac:spMkLst>
        </pc:spChg>
      </pc:sldChg>
    </pc:docChg>
  </pc:docChgLst>
  <pc:docChgLst>
    <pc:chgData name="Vetrano, Nicole" userId="S::nvetrano@bwh.harvard.edu::251ed28a-7cb2-4cc8-a8b7-59519a3d4894" providerId="AD" clId="Web-{112A9ED6-A3B4-7096-B064-547C6D142559}"/>
    <pc:docChg chg="modSld">
      <pc:chgData name="Vetrano, Nicole" userId="S::nvetrano@bwh.harvard.edu::251ed28a-7cb2-4cc8-a8b7-59519a3d4894" providerId="AD" clId="Web-{112A9ED6-A3B4-7096-B064-547C6D142559}" dt="2023-05-06T02:59:56.307" v="1" actId="20577"/>
      <pc:docMkLst>
        <pc:docMk/>
      </pc:docMkLst>
      <pc:sldChg chg="modSp">
        <pc:chgData name="Vetrano, Nicole" userId="S::nvetrano@bwh.harvard.edu::251ed28a-7cb2-4cc8-a8b7-59519a3d4894" providerId="AD" clId="Web-{112A9ED6-A3B4-7096-B064-547C6D142559}" dt="2023-05-06T02:59:56.307" v="1" actId="20577"/>
        <pc:sldMkLst>
          <pc:docMk/>
          <pc:sldMk cId="2157829121" sldId="3500"/>
        </pc:sldMkLst>
        <pc:spChg chg="mod">
          <ac:chgData name="Vetrano, Nicole" userId="S::nvetrano@bwh.harvard.edu::251ed28a-7cb2-4cc8-a8b7-59519a3d4894" providerId="AD" clId="Web-{112A9ED6-A3B4-7096-B064-547C6D142559}" dt="2023-05-06T02:59:56.307" v="1" actId="20577"/>
          <ac:spMkLst>
            <pc:docMk/>
            <pc:sldMk cId="2157829121" sldId="3500"/>
            <ac:spMk id="3" creationId="{DC1FB5CC-EE33-4D67-A5D0-01136FFFBE11}"/>
          </ac:spMkLst>
        </pc:spChg>
      </pc:sldChg>
    </pc:docChg>
  </pc:docChgLst>
  <pc:docChgLst>
    <pc:chgData name="Vetrano, Nicole" userId="S::nvetrano@bwh.harvard.edu::251ed28a-7cb2-4cc8-a8b7-59519a3d4894" providerId="AD" clId="Web-{F846D243-20AA-4DB1-B58B-4F76B93511FD}"/>
    <pc:docChg chg="modSld">
      <pc:chgData name="Vetrano, Nicole" userId="S::nvetrano@bwh.harvard.edu::251ed28a-7cb2-4cc8-a8b7-59519a3d4894" providerId="AD" clId="Web-{F846D243-20AA-4DB1-B58B-4F76B93511FD}" dt="2023-02-10T15:43:13.775" v="7" actId="20577"/>
      <pc:docMkLst>
        <pc:docMk/>
      </pc:docMkLst>
      <pc:sldChg chg="modSp">
        <pc:chgData name="Vetrano, Nicole" userId="S::nvetrano@bwh.harvard.edu::251ed28a-7cb2-4cc8-a8b7-59519a3d4894" providerId="AD" clId="Web-{F846D243-20AA-4DB1-B58B-4F76B93511FD}" dt="2023-02-10T15:43:13.775" v="7" actId="20577"/>
        <pc:sldMkLst>
          <pc:docMk/>
          <pc:sldMk cId="427793889" sldId="3388"/>
        </pc:sldMkLst>
        <pc:spChg chg="mod">
          <ac:chgData name="Vetrano, Nicole" userId="S::nvetrano@bwh.harvard.edu::251ed28a-7cb2-4cc8-a8b7-59519a3d4894" providerId="AD" clId="Web-{F846D243-20AA-4DB1-B58B-4F76B93511FD}" dt="2023-02-10T15:43:13.775" v="7" actId="20577"/>
          <ac:spMkLst>
            <pc:docMk/>
            <pc:sldMk cId="427793889" sldId="3388"/>
            <ac:spMk id="2" creationId="{5F58563F-1DA8-F1AD-9E58-4304B7CBC3AB}"/>
          </ac:spMkLst>
        </pc:spChg>
      </pc:sldChg>
    </pc:docChg>
  </pc:docChgLst>
  <pc:docChgLst>
    <pc:chgData name="Qureshi, Taj F." userId="e19f8f9a-4b04-4f30-b58a-5b568dd505d5" providerId="ADAL" clId="{6B435997-7CBA-45DB-86EF-1ED3D8D0401F}"/>
    <pc:docChg chg="undo custSel addSld modSld sldOrd">
      <pc:chgData name="Qureshi, Taj F." userId="e19f8f9a-4b04-4f30-b58a-5b568dd505d5" providerId="ADAL" clId="{6B435997-7CBA-45DB-86EF-1ED3D8D0401F}" dt="2022-09-16T14:47:09.614" v="144" actId="20577"/>
      <pc:docMkLst>
        <pc:docMk/>
      </pc:docMkLst>
      <pc:sldChg chg="modSp mod">
        <pc:chgData name="Qureshi, Taj F." userId="e19f8f9a-4b04-4f30-b58a-5b568dd505d5" providerId="ADAL" clId="{6B435997-7CBA-45DB-86EF-1ED3D8D0401F}" dt="2022-09-13T17:23:54.406" v="84" actId="20577"/>
        <pc:sldMkLst>
          <pc:docMk/>
          <pc:sldMk cId="1635790025" sldId="3340"/>
        </pc:sldMkLst>
        <pc:graphicFrameChg chg="modGraphic">
          <ac:chgData name="Qureshi, Taj F." userId="e19f8f9a-4b04-4f30-b58a-5b568dd505d5" providerId="ADAL" clId="{6B435997-7CBA-45DB-86EF-1ED3D8D0401F}" dt="2022-09-13T17:23:54.406" v="84" actId="20577"/>
          <ac:graphicFrameMkLst>
            <pc:docMk/>
            <pc:sldMk cId="1635790025" sldId="3340"/>
            <ac:graphicFrameMk id="4" creationId="{9206FA14-07A6-4D4F-8AD6-A1AE43D08CD3}"/>
          </ac:graphicFrameMkLst>
        </pc:graphicFrameChg>
      </pc:sldChg>
      <pc:sldChg chg="modSp mod">
        <pc:chgData name="Qureshi, Taj F." userId="e19f8f9a-4b04-4f30-b58a-5b568dd505d5" providerId="ADAL" clId="{6B435997-7CBA-45DB-86EF-1ED3D8D0401F}" dt="2022-09-16T13:25:22.255" v="88" actId="20577"/>
        <pc:sldMkLst>
          <pc:docMk/>
          <pc:sldMk cId="2157829121" sldId="3500"/>
        </pc:sldMkLst>
        <pc:spChg chg="mod">
          <ac:chgData name="Qureshi, Taj F." userId="e19f8f9a-4b04-4f30-b58a-5b568dd505d5" providerId="ADAL" clId="{6B435997-7CBA-45DB-86EF-1ED3D8D0401F}" dt="2022-09-16T13:25:22.255" v="88" actId="20577"/>
          <ac:spMkLst>
            <pc:docMk/>
            <pc:sldMk cId="2157829121" sldId="3500"/>
            <ac:spMk id="3" creationId="{DC1FB5CC-EE33-4D67-A5D0-01136FFFBE11}"/>
          </ac:spMkLst>
        </pc:spChg>
      </pc:sldChg>
      <pc:sldChg chg="addSp delSp modSp add mod ord modNotesTx">
        <pc:chgData name="Qureshi, Taj F." userId="e19f8f9a-4b04-4f30-b58a-5b568dd505d5" providerId="ADAL" clId="{6B435997-7CBA-45DB-86EF-1ED3D8D0401F}" dt="2022-09-16T14:47:09.614" v="144" actId="20577"/>
        <pc:sldMkLst>
          <pc:docMk/>
          <pc:sldMk cId="3537679081" sldId="3537"/>
        </pc:sldMkLst>
        <pc:spChg chg="add del mod">
          <ac:chgData name="Qureshi, Taj F." userId="e19f8f9a-4b04-4f30-b58a-5b568dd505d5" providerId="ADAL" clId="{6B435997-7CBA-45DB-86EF-1ED3D8D0401F}" dt="2022-09-16T14:22:55.302" v="121" actId="478"/>
          <ac:spMkLst>
            <pc:docMk/>
            <pc:sldMk cId="3537679081" sldId="3537"/>
            <ac:spMk id="2" creationId="{A5BF12D2-1FEC-49FF-99A6-2DD39C2FFDED}"/>
          </ac:spMkLst>
        </pc:spChg>
        <pc:spChg chg="add del mod">
          <ac:chgData name="Qureshi, Taj F." userId="e19f8f9a-4b04-4f30-b58a-5b568dd505d5" providerId="ADAL" clId="{6B435997-7CBA-45DB-86EF-1ED3D8D0401F}" dt="2022-09-16T14:22:58.273" v="124" actId="478"/>
          <ac:spMkLst>
            <pc:docMk/>
            <pc:sldMk cId="3537679081" sldId="3537"/>
            <ac:spMk id="8" creationId="{27C4593E-F331-4059-A2BA-5BC77797F351}"/>
          </ac:spMkLst>
        </pc:spChg>
        <pc:picChg chg="del">
          <ac:chgData name="Qureshi, Taj F." userId="e19f8f9a-4b04-4f30-b58a-5b568dd505d5" providerId="ADAL" clId="{6B435997-7CBA-45DB-86EF-1ED3D8D0401F}" dt="2022-09-13T17:16:40.371" v="1" actId="478"/>
          <ac:picMkLst>
            <pc:docMk/>
            <pc:sldMk cId="3537679081" sldId="3537"/>
            <ac:picMk id="3" creationId="{AA30AA2D-17B8-4F52-B39F-B8A8936F6E4A}"/>
          </ac:picMkLst>
        </pc:picChg>
        <pc:picChg chg="add del mod modCrop">
          <ac:chgData name="Qureshi, Taj F." userId="e19f8f9a-4b04-4f30-b58a-5b568dd505d5" providerId="ADAL" clId="{6B435997-7CBA-45DB-86EF-1ED3D8D0401F}" dt="2022-09-16T14:23:47.635" v="139" actId="478"/>
          <ac:picMkLst>
            <pc:docMk/>
            <pc:sldMk cId="3537679081" sldId="3537"/>
            <ac:picMk id="4" creationId="{6B102E23-0B77-410C-BB7C-2D4E7889B3C9}"/>
          </ac:picMkLst>
        </pc:picChg>
        <pc:picChg chg="add del">
          <ac:chgData name="Qureshi, Taj F." userId="e19f8f9a-4b04-4f30-b58a-5b568dd505d5" providerId="ADAL" clId="{6B435997-7CBA-45DB-86EF-1ED3D8D0401F}" dt="2022-09-16T14:23:46.983" v="138" actId="478"/>
          <ac:picMkLst>
            <pc:docMk/>
            <pc:sldMk cId="3537679081" sldId="3537"/>
            <ac:picMk id="14" creationId="{4FC8ACDD-0FCF-43BC-88FE-750FC7CFD093}"/>
          </ac:picMkLst>
        </pc:picChg>
      </pc:sldChg>
      <pc:sldChg chg="addSp delSp modSp add mod ord modNotesTx">
        <pc:chgData name="Qureshi, Taj F." userId="e19f8f9a-4b04-4f30-b58a-5b568dd505d5" providerId="ADAL" clId="{6B435997-7CBA-45DB-86EF-1ED3D8D0401F}" dt="2022-09-16T14:23:58.346" v="141" actId="20577"/>
        <pc:sldMkLst>
          <pc:docMk/>
          <pc:sldMk cId="142062400" sldId="3538"/>
        </pc:sldMkLst>
        <pc:spChg chg="add del mod">
          <ac:chgData name="Qureshi, Taj F." userId="e19f8f9a-4b04-4f30-b58a-5b568dd505d5" providerId="ADAL" clId="{6B435997-7CBA-45DB-86EF-1ED3D8D0401F}" dt="2022-09-16T14:22:36.124" v="116" actId="478"/>
          <ac:spMkLst>
            <pc:docMk/>
            <pc:sldMk cId="142062400" sldId="3538"/>
            <ac:spMk id="6" creationId="{4AA026C7-5D09-4F99-87A3-B9B1C1BE1F89}"/>
          </ac:spMkLst>
        </pc:spChg>
        <pc:spChg chg="mod">
          <ac:chgData name="Qureshi, Taj F." userId="e19f8f9a-4b04-4f30-b58a-5b568dd505d5" providerId="ADAL" clId="{6B435997-7CBA-45DB-86EF-1ED3D8D0401F}" dt="2022-09-13T17:23:43.173" v="63" actId="20577"/>
          <ac:spMkLst>
            <pc:docMk/>
            <pc:sldMk cId="142062400" sldId="3538"/>
            <ac:spMk id="8" creationId="{27C4593E-F331-4059-A2BA-5BC77797F351}"/>
          </ac:spMkLst>
        </pc:spChg>
        <pc:picChg chg="add del mod">
          <ac:chgData name="Qureshi, Taj F." userId="e19f8f9a-4b04-4f30-b58a-5b568dd505d5" providerId="ADAL" clId="{6B435997-7CBA-45DB-86EF-1ED3D8D0401F}" dt="2022-09-16T14:22:34.134" v="115" actId="478"/>
          <ac:picMkLst>
            <pc:docMk/>
            <pc:sldMk cId="142062400" sldId="3538"/>
            <ac:picMk id="3" creationId="{8E5CC380-80FF-40A0-9F5A-3F8F15BC8D2A}"/>
          </ac:picMkLst>
        </pc:picChg>
        <pc:picChg chg="add mod">
          <ac:chgData name="Qureshi, Taj F." userId="e19f8f9a-4b04-4f30-b58a-5b568dd505d5" providerId="ADAL" clId="{6B435997-7CBA-45DB-86EF-1ED3D8D0401F}" dt="2022-09-16T14:22:42.824" v="119" actId="14100"/>
          <ac:picMkLst>
            <pc:docMk/>
            <pc:sldMk cId="142062400" sldId="3538"/>
            <ac:picMk id="4" creationId="{07AA0F58-618F-49DE-95CB-E87396DD74FC}"/>
          </ac:picMkLst>
        </pc:picChg>
        <pc:picChg chg="del">
          <ac:chgData name="Qureshi, Taj F." userId="e19f8f9a-4b04-4f30-b58a-5b568dd505d5" providerId="ADAL" clId="{6B435997-7CBA-45DB-86EF-1ED3D8D0401F}" dt="2022-09-13T17:17:15.669" v="6" actId="478"/>
          <ac:picMkLst>
            <pc:docMk/>
            <pc:sldMk cId="142062400" sldId="3538"/>
            <ac:picMk id="4" creationId="{6B102E23-0B77-410C-BB7C-2D4E7889B3C9}"/>
          </ac:picMkLst>
        </pc:picChg>
        <pc:picChg chg="del">
          <ac:chgData name="Qureshi, Taj F." userId="e19f8f9a-4b04-4f30-b58a-5b568dd505d5" providerId="ADAL" clId="{6B435997-7CBA-45DB-86EF-1ED3D8D0401F}" dt="2022-09-16T14:22:37.443" v="117" actId="478"/>
          <ac:picMkLst>
            <pc:docMk/>
            <pc:sldMk cId="142062400" sldId="3538"/>
            <ac:picMk id="14" creationId="{4FC8ACDD-0FCF-43BC-88FE-750FC7CFD093}"/>
          </ac:picMkLst>
        </pc:picChg>
      </pc:sldChg>
    </pc:docChg>
  </pc:docChgLst>
  <pc:docChgLst>
    <pc:chgData name="Qureshi, Taj F." userId="e19f8f9a-4b04-4f30-b58a-5b568dd505d5" providerId="ADAL" clId="{199B3258-CBED-4CBD-8B67-507D4BA07946}"/>
    <pc:docChg chg="undo custSel modSld">
      <pc:chgData name="Qureshi, Taj F." userId="e19f8f9a-4b04-4f30-b58a-5b568dd505d5" providerId="ADAL" clId="{199B3258-CBED-4CBD-8B67-507D4BA07946}" dt="2023-01-09T18:12:00.691" v="28" actId="20577"/>
      <pc:docMkLst>
        <pc:docMk/>
      </pc:docMkLst>
      <pc:sldChg chg="modNotesTx">
        <pc:chgData name="Qureshi, Taj F." userId="e19f8f9a-4b04-4f30-b58a-5b568dd505d5" providerId="ADAL" clId="{199B3258-CBED-4CBD-8B67-507D4BA07946}" dt="2023-01-09T18:08:49.645" v="7" actId="20577"/>
        <pc:sldMkLst>
          <pc:docMk/>
          <pc:sldMk cId="2663093350" sldId="3369"/>
        </pc:sldMkLst>
      </pc:sldChg>
      <pc:sldChg chg="modSp mod">
        <pc:chgData name="Qureshi, Taj F." userId="e19f8f9a-4b04-4f30-b58a-5b568dd505d5" providerId="ADAL" clId="{199B3258-CBED-4CBD-8B67-507D4BA07946}" dt="2023-01-09T18:12:00.691" v="28" actId="20577"/>
        <pc:sldMkLst>
          <pc:docMk/>
          <pc:sldMk cId="2157829121" sldId="3500"/>
        </pc:sldMkLst>
        <pc:spChg chg="mod">
          <ac:chgData name="Qureshi, Taj F." userId="e19f8f9a-4b04-4f30-b58a-5b568dd505d5" providerId="ADAL" clId="{199B3258-CBED-4CBD-8B67-507D4BA07946}" dt="2023-01-09T18:12:00.691" v="28" actId="20577"/>
          <ac:spMkLst>
            <pc:docMk/>
            <pc:sldMk cId="2157829121" sldId="3500"/>
            <ac:spMk id="3" creationId="{DC1FB5CC-EE33-4D67-A5D0-01136FFFBE11}"/>
          </ac:spMkLst>
        </pc:spChg>
      </pc:sldChg>
      <pc:sldChg chg="addSp modSp mod">
        <pc:chgData name="Qureshi, Taj F." userId="e19f8f9a-4b04-4f30-b58a-5b568dd505d5" providerId="ADAL" clId="{199B3258-CBED-4CBD-8B67-507D4BA07946}" dt="2023-01-09T18:09:59.629" v="20" actId="1037"/>
        <pc:sldMkLst>
          <pc:docMk/>
          <pc:sldMk cId="3640228099" sldId="3536"/>
        </pc:sldMkLst>
        <pc:picChg chg="add mod">
          <ac:chgData name="Qureshi, Taj F." userId="e19f8f9a-4b04-4f30-b58a-5b568dd505d5" providerId="ADAL" clId="{199B3258-CBED-4CBD-8B67-507D4BA07946}" dt="2023-01-09T18:09:59.629" v="20" actId="1037"/>
          <ac:picMkLst>
            <pc:docMk/>
            <pc:sldMk cId="3640228099" sldId="3536"/>
            <ac:picMk id="6" creationId="{72BC782A-46B9-4B0B-8FDB-4D4525351BBF}"/>
          </ac:picMkLst>
        </pc:picChg>
      </pc:sldChg>
      <pc:sldChg chg="modNotesTx">
        <pc:chgData name="Qureshi, Taj F." userId="e19f8f9a-4b04-4f30-b58a-5b568dd505d5" providerId="ADAL" clId="{199B3258-CBED-4CBD-8B67-507D4BA07946}" dt="2023-01-09T18:07:57.646" v="5" actId="20577"/>
        <pc:sldMkLst>
          <pc:docMk/>
          <pc:sldMk cId="2053167649" sldId="3539"/>
        </pc:sldMkLst>
      </pc:sldChg>
    </pc:docChg>
  </pc:docChgLst>
  <pc:docChgLst>
    <pc:chgData name="Qureshi, Taj F." userId="e19f8f9a-4b04-4f30-b58a-5b568dd505d5" providerId="ADAL" clId="{CCACC8B3-01B6-45C7-AB86-3F4430656B34}"/>
    <pc:docChg chg="modSld">
      <pc:chgData name="Qureshi, Taj F." userId="e19f8f9a-4b04-4f30-b58a-5b568dd505d5" providerId="ADAL" clId="{CCACC8B3-01B6-45C7-AB86-3F4430656B34}" dt="2023-06-05T15:22:22.536" v="56" actId="207"/>
      <pc:docMkLst>
        <pc:docMk/>
      </pc:docMkLst>
      <pc:sldChg chg="modSp mod">
        <pc:chgData name="Qureshi, Taj F." userId="e19f8f9a-4b04-4f30-b58a-5b568dd505d5" providerId="ADAL" clId="{CCACC8B3-01B6-45C7-AB86-3F4430656B34}" dt="2023-06-05T15:21:16.853" v="6" actId="20577"/>
        <pc:sldMkLst>
          <pc:docMk/>
          <pc:sldMk cId="2201927228" sldId="281"/>
        </pc:sldMkLst>
        <pc:spChg chg="mod">
          <ac:chgData name="Qureshi, Taj F." userId="e19f8f9a-4b04-4f30-b58a-5b568dd505d5" providerId="ADAL" clId="{CCACC8B3-01B6-45C7-AB86-3F4430656B34}" dt="2023-06-05T15:21:16.853" v="6" actId="20577"/>
          <ac:spMkLst>
            <pc:docMk/>
            <pc:sldMk cId="2201927228" sldId="281"/>
            <ac:spMk id="7" creationId="{7CC54396-97AB-409E-B850-2AE2619B0508}"/>
          </ac:spMkLst>
        </pc:spChg>
      </pc:sldChg>
      <pc:sldChg chg="modSp mod">
        <pc:chgData name="Qureshi, Taj F." userId="e19f8f9a-4b04-4f30-b58a-5b568dd505d5" providerId="ADAL" clId="{CCACC8B3-01B6-45C7-AB86-3F4430656B34}" dt="2023-06-05T15:21:21.915" v="10" actId="20577"/>
        <pc:sldMkLst>
          <pc:docMk/>
          <pc:sldMk cId="1635790025" sldId="3340"/>
        </pc:sldMkLst>
        <pc:graphicFrameChg chg="modGraphic">
          <ac:chgData name="Qureshi, Taj F." userId="e19f8f9a-4b04-4f30-b58a-5b568dd505d5" providerId="ADAL" clId="{CCACC8B3-01B6-45C7-AB86-3F4430656B34}" dt="2023-06-05T15:21:21.915" v="10" actId="20577"/>
          <ac:graphicFrameMkLst>
            <pc:docMk/>
            <pc:sldMk cId="1635790025" sldId="3340"/>
            <ac:graphicFrameMk id="4" creationId="{9206FA14-07A6-4D4F-8AD6-A1AE43D08CD3}"/>
          </ac:graphicFrameMkLst>
        </pc:graphicFrameChg>
      </pc:sldChg>
      <pc:sldChg chg="addSp modSp">
        <pc:chgData name="Qureshi, Taj F." userId="e19f8f9a-4b04-4f30-b58a-5b568dd505d5" providerId="ADAL" clId="{CCACC8B3-01B6-45C7-AB86-3F4430656B34}" dt="2023-06-05T15:21:46.528" v="34"/>
        <pc:sldMkLst>
          <pc:docMk/>
          <pc:sldMk cId="2663093350" sldId="3369"/>
        </pc:sldMkLst>
        <pc:spChg chg="add mod">
          <ac:chgData name="Qureshi, Taj F." userId="e19f8f9a-4b04-4f30-b58a-5b568dd505d5" providerId="ADAL" clId="{CCACC8B3-01B6-45C7-AB86-3F4430656B34}" dt="2023-06-05T15:21:46.528" v="34"/>
          <ac:spMkLst>
            <pc:docMk/>
            <pc:sldMk cId="2663093350" sldId="3369"/>
            <ac:spMk id="2" creationId="{913137C9-7842-BBCE-E033-D839A9C0E208}"/>
          </ac:spMkLst>
        </pc:spChg>
      </pc:sldChg>
      <pc:sldChg chg="addSp modSp mod">
        <pc:chgData name="Qureshi, Taj F." userId="e19f8f9a-4b04-4f30-b58a-5b568dd505d5" providerId="ADAL" clId="{CCACC8B3-01B6-45C7-AB86-3F4430656B34}" dt="2023-06-05T15:21:43.816" v="33" actId="1076"/>
        <pc:sldMkLst>
          <pc:docMk/>
          <pc:sldMk cId="427793889" sldId="3388"/>
        </pc:sldMkLst>
        <pc:spChg chg="add mod">
          <ac:chgData name="Qureshi, Taj F." userId="e19f8f9a-4b04-4f30-b58a-5b568dd505d5" providerId="ADAL" clId="{CCACC8B3-01B6-45C7-AB86-3F4430656B34}" dt="2023-06-05T15:21:43.816" v="33" actId="1076"/>
          <ac:spMkLst>
            <pc:docMk/>
            <pc:sldMk cId="427793889" sldId="3388"/>
            <ac:spMk id="4" creationId="{1C024F17-D726-48BB-3238-7EF79891A15B}"/>
          </ac:spMkLst>
        </pc:spChg>
      </pc:sldChg>
      <pc:sldChg chg="addSp modSp">
        <pc:chgData name="Qureshi, Taj F." userId="e19f8f9a-4b04-4f30-b58a-5b568dd505d5" providerId="ADAL" clId="{CCACC8B3-01B6-45C7-AB86-3F4430656B34}" dt="2023-06-05T15:21:49.785" v="36"/>
        <pc:sldMkLst>
          <pc:docMk/>
          <pc:sldMk cId="240661228" sldId="3423"/>
        </pc:sldMkLst>
        <pc:spChg chg="add mod">
          <ac:chgData name="Qureshi, Taj F." userId="e19f8f9a-4b04-4f30-b58a-5b568dd505d5" providerId="ADAL" clId="{CCACC8B3-01B6-45C7-AB86-3F4430656B34}" dt="2023-06-05T15:21:49.785" v="36"/>
          <ac:spMkLst>
            <pc:docMk/>
            <pc:sldMk cId="240661228" sldId="3423"/>
            <ac:spMk id="2" creationId="{26BFADAD-1FD7-16F1-32A9-766C519D3C85}"/>
          </ac:spMkLst>
        </pc:spChg>
      </pc:sldChg>
      <pc:sldChg chg="addSp modSp mod">
        <pc:chgData name="Qureshi, Taj F." userId="e19f8f9a-4b04-4f30-b58a-5b568dd505d5" providerId="ADAL" clId="{CCACC8B3-01B6-45C7-AB86-3F4430656B34}" dt="2023-06-05T15:22:22.536" v="56" actId="207"/>
        <pc:sldMkLst>
          <pc:docMk/>
          <pc:sldMk cId="2157829121" sldId="3500"/>
        </pc:sldMkLst>
        <pc:spChg chg="add mod">
          <ac:chgData name="Qureshi, Taj F." userId="e19f8f9a-4b04-4f30-b58a-5b568dd505d5" providerId="ADAL" clId="{CCACC8B3-01B6-45C7-AB86-3F4430656B34}" dt="2023-06-05T15:21:52.970" v="38"/>
          <ac:spMkLst>
            <pc:docMk/>
            <pc:sldMk cId="2157829121" sldId="3500"/>
            <ac:spMk id="2" creationId="{A8613387-5A36-DCB8-7487-90D1DF3052DB}"/>
          </ac:spMkLst>
        </pc:spChg>
        <pc:spChg chg="mod">
          <ac:chgData name="Qureshi, Taj F." userId="e19f8f9a-4b04-4f30-b58a-5b568dd505d5" providerId="ADAL" clId="{CCACC8B3-01B6-45C7-AB86-3F4430656B34}" dt="2023-06-05T15:22:22.536" v="56" actId="207"/>
          <ac:spMkLst>
            <pc:docMk/>
            <pc:sldMk cId="2157829121" sldId="3500"/>
            <ac:spMk id="3" creationId="{DC1FB5CC-EE33-4D67-A5D0-01136FFFBE11}"/>
          </ac:spMkLst>
        </pc:spChg>
      </pc:sldChg>
      <pc:sldChg chg="addSp modSp">
        <pc:chgData name="Qureshi, Taj F." userId="e19f8f9a-4b04-4f30-b58a-5b568dd505d5" providerId="ADAL" clId="{CCACC8B3-01B6-45C7-AB86-3F4430656B34}" dt="2023-06-05T15:21:51.381" v="37"/>
        <pc:sldMkLst>
          <pc:docMk/>
          <pc:sldMk cId="3640228099" sldId="3536"/>
        </pc:sldMkLst>
        <pc:spChg chg="add mod">
          <ac:chgData name="Qureshi, Taj F." userId="e19f8f9a-4b04-4f30-b58a-5b568dd505d5" providerId="ADAL" clId="{CCACC8B3-01B6-45C7-AB86-3F4430656B34}" dt="2023-06-05T15:21:51.381" v="37"/>
          <ac:spMkLst>
            <pc:docMk/>
            <pc:sldMk cId="3640228099" sldId="3536"/>
            <ac:spMk id="2" creationId="{1C7BBD79-8A9D-4A77-4536-1B30D2E68492}"/>
          </ac:spMkLst>
        </pc:spChg>
      </pc:sldChg>
      <pc:sldChg chg="addSp modSp">
        <pc:chgData name="Qureshi, Taj F." userId="e19f8f9a-4b04-4f30-b58a-5b568dd505d5" providerId="ADAL" clId="{CCACC8B3-01B6-45C7-AB86-3F4430656B34}" dt="2023-06-05T15:21:55.538" v="39"/>
        <pc:sldMkLst>
          <pc:docMk/>
          <pc:sldMk cId="3537679081" sldId="3537"/>
        </pc:sldMkLst>
        <pc:spChg chg="add mod">
          <ac:chgData name="Qureshi, Taj F." userId="e19f8f9a-4b04-4f30-b58a-5b568dd505d5" providerId="ADAL" clId="{CCACC8B3-01B6-45C7-AB86-3F4430656B34}" dt="2023-06-05T15:21:55.538" v="39"/>
          <ac:spMkLst>
            <pc:docMk/>
            <pc:sldMk cId="3537679081" sldId="3537"/>
            <ac:spMk id="2" creationId="{1F18E5DA-09AC-601A-AA40-4D8C02F51486}"/>
          </ac:spMkLst>
        </pc:spChg>
      </pc:sldChg>
      <pc:sldChg chg="addSp modSp">
        <pc:chgData name="Qureshi, Taj F." userId="e19f8f9a-4b04-4f30-b58a-5b568dd505d5" providerId="ADAL" clId="{CCACC8B3-01B6-45C7-AB86-3F4430656B34}" dt="2023-06-05T15:21:48.177" v="35"/>
        <pc:sldMkLst>
          <pc:docMk/>
          <pc:sldMk cId="2053167649" sldId="3539"/>
        </pc:sldMkLst>
        <pc:spChg chg="add mod">
          <ac:chgData name="Qureshi, Taj F." userId="e19f8f9a-4b04-4f30-b58a-5b568dd505d5" providerId="ADAL" clId="{CCACC8B3-01B6-45C7-AB86-3F4430656B34}" dt="2023-06-05T15:21:48.177" v="35"/>
          <ac:spMkLst>
            <pc:docMk/>
            <pc:sldMk cId="2053167649" sldId="3539"/>
            <ac:spMk id="2" creationId="{D10BD3B3-A387-FB76-F796-FB4EBDEA7065}"/>
          </ac:spMkLst>
        </pc:spChg>
      </pc:sldChg>
      <pc:sldChg chg="addSp modSp">
        <pc:chgData name="Qureshi, Taj F." userId="e19f8f9a-4b04-4f30-b58a-5b568dd505d5" providerId="ADAL" clId="{CCACC8B3-01B6-45C7-AB86-3F4430656B34}" dt="2023-06-05T15:21:56.819" v="40"/>
        <pc:sldMkLst>
          <pc:docMk/>
          <pc:sldMk cId="3467862585" sldId="3540"/>
        </pc:sldMkLst>
        <pc:spChg chg="add mod">
          <ac:chgData name="Qureshi, Taj F." userId="e19f8f9a-4b04-4f30-b58a-5b568dd505d5" providerId="ADAL" clId="{CCACC8B3-01B6-45C7-AB86-3F4430656B34}" dt="2023-06-05T15:21:56.819" v="40"/>
          <ac:spMkLst>
            <pc:docMk/>
            <pc:sldMk cId="3467862585" sldId="3540"/>
            <ac:spMk id="2" creationId="{326E5D06-DAA4-FA2E-EE06-3589CD195E19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48C1C13-4869-4616-8CAB-534E05FD0C4E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22A8076-7478-4B2E-BFC9-06DEBE872E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11141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2A8076-7478-4B2E-BFC9-06DEBE872E9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38064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kern="1200">
                <a:solidFill>
                  <a:srgbClr val="000000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N</a:t>
            </a:r>
            <a:r>
              <a:rPr lang="en-US" sz="1200">
                <a:solidFill>
                  <a:srgbClr val="000000"/>
                </a:solidFill>
                <a:latin typeface="Segoe UI" panose="020B0502040204020203" pitchFamily="34" charset="0"/>
              </a:rPr>
              <a:t>umbers on this slide include BI-RADS 3 </a:t>
            </a:r>
            <a:r>
              <a:rPr lang="en-US" sz="1200" err="1">
                <a:solidFill>
                  <a:srgbClr val="000000"/>
                </a:solidFill>
                <a:latin typeface="Segoe UI" panose="020B0502040204020203" pitchFamily="34" charset="0"/>
              </a:rPr>
              <a:t>Mammo</a:t>
            </a:r>
            <a:r>
              <a:rPr lang="en-US" sz="1200">
                <a:solidFill>
                  <a:srgbClr val="000000"/>
                </a:solidFill>
                <a:latin typeface="Segoe UI" panose="020B0502040204020203" pitchFamily="34" charset="0"/>
              </a:rPr>
              <a:t> &amp; US.</a:t>
            </a:r>
            <a:endParaRPr lang="en-US" sz="1200" b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000000"/>
                </a:solidFill>
                <a:latin typeface="Segoe UI" panose="020B0502040204020203" pitchFamily="34" charset="0"/>
              </a:rPr>
              <a:t>In Progress (Loop Open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2A8076-7478-4B2E-BFC9-06DEBE872E9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84041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2A8076-7478-4B2E-BFC9-06DEBE872E9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0601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1BBA33-0321-422C-8C90-0E0F6C2515D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93096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b="0" i="0" kern="1200">
                <a:solidFill>
                  <a:srgbClr val="000000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N</a:t>
            </a:r>
            <a:r>
              <a:rPr lang="en-US" sz="1800">
                <a:solidFill>
                  <a:srgbClr val="000000"/>
                </a:solidFill>
                <a:latin typeface="Segoe UI" panose="020B0502040204020203" pitchFamily="34" charset="0"/>
              </a:rPr>
              <a:t>umbers on this slide include BI-RADS 3 </a:t>
            </a:r>
            <a:r>
              <a:rPr lang="en-US" sz="1800" err="1">
                <a:solidFill>
                  <a:srgbClr val="000000"/>
                </a:solidFill>
                <a:latin typeface="Segoe UI" panose="020B0502040204020203" pitchFamily="34" charset="0"/>
              </a:rPr>
              <a:t>Mammo</a:t>
            </a:r>
            <a:r>
              <a:rPr lang="en-US" sz="1800">
                <a:solidFill>
                  <a:srgbClr val="000000"/>
                </a:solidFill>
                <a:latin typeface="Segoe UI" panose="020B0502040204020203" pitchFamily="34" charset="0"/>
              </a:rPr>
              <a:t> &amp; US. They also include ARRC Page.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2A8076-7478-4B2E-BFC9-06DEBE872E9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10038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ie Chart: Overall, Safety Net is acting on ~19% of follow-up alerts. </a:t>
            </a:r>
            <a:r>
              <a:rPr lang="en-US" sz="1800" b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</a:rPr>
              <a:t>Of note, </a:t>
            </a:r>
            <a:r>
              <a:rPr lang="en-US" sz="1800" b="0">
                <a:solidFill>
                  <a:srgbClr val="FF0000"/>
                </a:solidFill>
                <a:effectLst/>
                <a:latin typeface="Calibri" panose="020F0502020204030204" pitchFamily="34" charset="0"/>
                <a:ea typeface="+mn-ea"/>
              </a:rPr>
              <a:t>i</a:t>
            </a:r>
            <a:r>
              <a:rPr lang="en-US" sz="1800" b="0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ncludes all alerts in OneDrive that have indicated any Safety Net action (acknowledged by Safety Net, Safety Net in progress, Safety Net sent letter, etc.)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kern="1200">
                <a:solidFill>
                  <a:srgbClr val="000000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N</a:t>
            </a:r>
            <a:r>
              <a:rPr lang="en-US" sz="1800">
                <a:solidFill>
                  <a:srgbClr val="000000"/>
                </a:solidFill>
                <a:latin typeface="Segoe UI" panose="020B0502040204020203" pitchFamily="34" charset="0"/>
              </a:rPr>
              <a:t>umbers on this slide do not include BI-RADS 3 </a:t>
            </a:r>
            <a:r>
              <a:rPr lang="en-US" sz="1800" err="1">
                <a:solidFill>
                  <a:srgbClr val="000000"/>
                </a:solidFill>
                <a:latin typeface="Segoe UI" panose="020B0502040204020203" pitchFamily="34" charset="0"/>
              </a:rPr>
              <a:t>Mammo</a:t>
            </a:r>
            <a:r>
              <a:rPr lang="en-US" sz="1800">
                <a:solidFill>
                  <a:srgbClr val="000000"/>
                </a:solidFill>
                <a:latin typeface="Segoe UI" panose="020B0502040204020203" pitchFamily="34" charset="0"/>
              </a:rPr>
              <a:t> &amp; US.</a:t>
            </a:r>
            <a:endParaRPr lang="en-US" sz="1800" b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2A8076-7478-4B2E-BFC9-06DEBE872E9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55872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ie Chart: Overall, referring providers disagree with ~13% of follow-up recommendatio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kern="1200">
                <a:solidFill>
                  <a:srgbClr val="000000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N</a:t>
            </a:r>
            <a:r>
              <a:rPr lang="en-US" sz="1200">
                <a:solidFill>
                  <a:srgbClr val="000000"/>
                </a:solidFill>
                <a:latin typeface="Segoe UI" panose="020B0502040204020203" pitchFamily="34" charset="0"/>
              </a:rPr>
              <a:t>umbers on this slide do not include BI-RADS 3 </a:t>
            </a:r>
            <a:r>
              <a:rPr lang="en-US" sz="1200" err="1">
                <a:solidFill>
                  <a:srgbClr val="000000"/>
                </a:solidFill>
                <a:latin typeface="Segoe UI" panose="020B0502040204020203" pitchFamily="34" charset="0"/>
              </a:rPr>
              <a:t>Mammo</a:t>
            </a:r>
            <a:r>
              <a:rPr lang="en-US" sz="1200">
                <a:solidFill>
                  <a:srgbClr val="000000"/>
                </a:solidFill>
                <a:latin typeface="Segoe UI" panose="020B0502040204020203" pitchFamily="34" charset="0"/>
              </a:rPr>
              <a:t> &amp; US.</a:t>
            </a:r>
            <a:endParaRPr lang="en-US" sz="1200" b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2A8076-7478-4B2E-BFC9-06DEBE872E9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6555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>
                <a:solidFill>
                  <a:srgbClr val="000000"/>
                </a:solidFill>
                <a:latin typeface="Segoe UI" panose="020B0502040204020203" pitchFamily="34" charset="0"/>
              </a:rPr>
              <a:t>Slide request by Safety Net – more detail as to the actions of Safety Net.</a:t>
            </a:r>
            <a:endParaRPr lang="en-US" sz="1800">
              <a:solidFill>
                <a:prstClr val="black"/>
              </a:solidFill>
              <a:latin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kern="1200">
                <a:solidFill>
                  <a:srgbClr val="000000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N</a:t>
            </a:r>
            <a:r>
              <a:rPr lang="en-US" sz="1200">
                <a:solidFill>
                  <a:srgbClr val="000000"/>
                </a:solidFill>
                <a:latin typeface="Segoe UI" panose="020B0502040204020203" pitchFamily="34" charset="0"/>
              </a:rPr>
              <a:t>umbers on this slide do not include BI-RADS 3 </a:t>
            </a:r>
            <a:r>
              <a:rPr lang="en-US" sz="1200" err="1">
                <a:solidFill>
                  <a:srgbClr val="000000"/>
                </a:solidFill>
                <a:latin typeface="Segoe UI" panose="020B0502040204020203" pitchFamily="34" charset="0"/>
              </a:rPr>
              <a:t>Mammo</a:t>
            </a:r>
            <a:r>
              <a:rPr lang="en-US" sz="1200">
                <a:solidFill>
                  <a:srgbClr val="000000"/>
                </a:solidFill>
                <a:latin typeface="Segoe UI" panose="020B0502040204020203" pitchFamily="34" charset="0"/>
              </a:rPr>
              <a:t> &amp; US.</a:t>
            </a:r>
            <a:endParaRPr lang="en-US" sz="1200" b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2A8076-7478-4B2E-BFC9-06DEBE872E9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47983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>
                <a:solidFill>
                  <a:srgbClr val="000000"/>
                </a:solidFill>
                <a:latin typeface="Segoe UI" panose="020B0502040204020203" pitchFamily="34" charset="0"/>
              </a:rPr>
              <a:t>Slide request by Safety Net – see the results of Safety Net work over tim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i="0" kern="1200">
                <a:solidFill>
                  <a:srgbClr val="000000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N</a:t>
            </a:r>
            <a:r>
              <a:rPr lang="en-US" sz="1800">
                <a:solidFill>
                  <a:srgbClr val="000000"/>
                </a:solidFill>
                <a:latin typeface="Segoe UI" panose="020B0502040204020203" pitchFamily="34" charset="0"/>
              </a:rPr>
              <a:t>umbers on this slide do not include BI-RADS 3 </a:t>
            </a:r>
            <a:r>
              <a:rPr lang="en-US" sz="1800" err="1">
                <a:solidFill>
                  <a:srgbClr val="000000"/>
                </a:solidFill>
                <a:latin typeface="Segoe UI" panose="020B0502040204020203" pitchFamily="34" charset="0"/>
              </a:rPr>
              <a:t>Mammo</a:t>
            </a:r>
            <a:r>
              <a:rPr lang="en-US" sz="1800">
                <a:solidFill>
                  <a:srgbClr val="000000"/>
                </a:solidFill>
                <a:latin typeface="Segoe UI" panose="020B0502040204020203" pitchFamily="34" charset="0"/>
              </a:rPr>
              <a:t> &amp; US.</a:t>
            </a:r>
            <a:endParaRPr lang="en-US" sz="1800" b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>
              <a:solidFill>
                <a:prstClr val="black"/>
              </a:solidFill>
              <a:latin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2A8076-7478-4B2E-BFC9-06DEBE872E9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4739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2A8076-7478-4B2E-BFC9-06DEBE872E9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00752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kern="1200">
                <a:solidFill>
                  <a:srgbClr val="000000"/>
                </a:solidFill>
                <a:effectLst/>
                <a:latin typeface="Segoe UI" panose="020B0502040204020203" pitchFamily="34" charset="0"/>
                <a:ea typeface="+mn-ea"/>
                <a:cs typeface="+mn-cs"/>
              </a:rPr>
              <a:t>N</a:t>
            </a:r>
            <a:r>
              <a:rPr lang="en-US" sz="1200">
                <a:solidFill>
                  <a:srgbClr val="000000"/>
                </a:solidFill>
                <a:latin typeface="Segoe UI" panose="020B0502040204020203" pitchFamily="34" charset="0"/>
              </a:rPr>
              <a:t>umbers on this slide include BI-RADS 3 </a:t>
            </a:r>
            <a:r>
              <a:rPr lang="en-US" sz="1200" err="1">
                <a:solidFill>
                  <a:srgbClr val="000000"/>
                </a:solidFill>
                <a:latin typeface="Segoe UI" panose="020B0502040204020203" pitchFamily="34" charset="0"/>
              </a:rPr>
              <a:t>Mammo</a:t>
            </a:r>
            <a:r>
              <a:rPr lang="en-US" sz="1200">
                <a:solidFill>
                  <a:srgbClr val="000000"/>
                </a:solidFill>
                <a:latin typeface="Segoe UI" panose="020B0502040204020203" pitchFamily="34" charset="0"/>
              </a:rPr>
              <a:t> &amp; U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>
                <a:solidFill>
                  <a:srgbClr val="000000"/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</a:rPr>
              <a:t>Resolved (Loop Closed)</a:t>
            </a:r>
            <a:endParaRPr lang="en-US" sz="1200" b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2A8076-7478-4B2E-BFC9-06DEBE872E9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42998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.xml"/><Relationship Id="rId4" Type="http://schemas.openxmlformats.org/officeDocument/2006/relationships/image" Target="../media/image13.emf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5C4EEB1-2F8E-4657-9980-7B8364120347}" type="datetime1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49135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A78DCA77-255D-4BAE-859B-1161D1E7AAB6}" type="datetime1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483907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516496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214561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5C4EEB1-2F8E-4657-9980-7B8364120347}" type="datetime1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491350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C2B2C4A4-27A2-4287-A3E0-00E9520173BE}" type="datetime1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503101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65460F34-DFF8-429E-95B0-9DB0E154EEBC}" type="datetime1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681750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FE4D93E-4E4F-47D5-84BE-C1E2E6DC377F}" type="datetime1">
              <a:rPr lang="en-US" smtClean="0"/>
              <a:t>7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710172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7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8861C7F1-BE3C-4008-A07F-8524B5C6FFD9}" type="datetime1">
              <a:rPr lang="en-US" smtClean="0"/>
              <a:t>7/11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018976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970B26C-93DF-41C0-9AEF-F033CE98DE26}" type="datetime1">
              <a:rPr lang="en-US" smtClean="0"/>
              <a:t>7/1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57673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0DC2E92B-947D-4887-BFEB-28A3E9818A95}" type="datetime1">
              <a:rPr lang="en-US" smtClean="0"/>
              <a:t>7/1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77319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4F277EF8-9A9F-429E-9A08-38AA7ABB353D}" type="datetime1">
              <a:rPr lang="en-US" smtClean="0"/>
              <a:t>7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239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6835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EF68237-7154-4B69-8428-14A5DC298194}" type="datetime1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021786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6AB12FE7-1E26-4D5A-A14F-67A8BDD89BC4}" type="datetime1">
              <a:rPr lang="en-US" smtClean="0"/>
              <a:t>7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267640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A78DCA77-255D-4BAE-859B-1161D1E7AAB6}" type="datetime1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483907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6835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EF68237-7154-4B69-8428-14A5DC298194}" type="datetime1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021786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4"/>
            <a:ext cx="9522781" cy="1680909"/>
          </a:xfrm>
        </p:spPr>
        <p:txBody>
          <a:bodyPr anchor="b"/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z="2400"/>
              <a:t>Presenter or subtitle 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3"/>
            <a:ext cx="1832218" cy="243349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AD5D98F-B901-4040-88CE-DBE6B1D776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06424" y="635936"/>
            <a:ext cx="3172963" cy="43996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928543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2587A6-FADF-CA4B-92D7-011DFD3E1E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7870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32587A6-FADF-CA4B-92D7-011DFD3E1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336F34-49E0-4A7C-A020-3CF62B0F8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6FCD3D-BE75-4AB7-AF91-4934F3ADAA50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4pPr marL="917575" indent="-233363">
              <a:buFont typeface="Wingdings" pitchFamily="2" charset="2"/>
              <a:buChar char="§"/>
              <a:defRPr/>
            </a:lvl4pPr>
            <a:lvl5pPr marL="1146175" indent="-234950">
              <a:buSzPct val="90000"/>
              <a:buFont typeface="System Font Regular"/>
              <a:buChar char="–"/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7898C508-098E-8641-956A-DD8F7B008B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9F9743-0A9D-2345-B04A-C049C5CEE7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70276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7C3BE6-2E2A-4A2D-A3F5-C50D273712D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0079" y="2029842"/>
            <a:ext cx="5184648" cy="3715321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75C9D9-E2F8-49F1-974F-B06A783A1E1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0079" y="1719072"/>
            <a:ext cx="5184648" cy="310771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Optional headl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7A10F-FA16-489F-B6F5-AF30FC09B40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61112" y="1719072"/>
            <a:ext cx="5183188" cy="310770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Optional head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28EC26D-D076-400E-AA91-3DB2533CB7BA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61112" y="2029842"/>
            <a:ext cx="5183188" cy="3715321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ECB684-FDD4-594C-98A0-429D85877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608995E-8074-C54D-B812-031E33AAB3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A610992-4247-0644-B81C-8D5480478C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5143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  <p15:guide id="5" pos="3997">
          <p15:clr>
            <a:srgbClr val="FBAE40"/>
          </p15:clr>
        </p15:guide>
        <p15:guide id="6" pos="3678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80" y="1719072"/>
            <a:ext cx="5184648" cy="402336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1719072"/>
            <a:ext cx="5184648" cy="402336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3718913-5E8E-2E44-862B-D47884C2F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32BC4998-B6F1-DA42-B41F-97DBCEF72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EBE4E73-5259-334F-AE3B-9FF8EABC02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670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74">
          <p15:clr>
            <a:srgbClr val="FBAE40"/>
          </p15:clr>
        </p15:guide>
        <p15:guide id="3" pos="4001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B01DFA6-8F9A-4F40-94EB-5AC4A5BBC72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4690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705231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2CE710-5EBE-7347-8470-8ABE73F49B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2816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9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7D6A64-436E-B549-A738-5BD4E26E780C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40081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9952872-2D99-6A44-AF8E-4C81084A6F5D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9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F3B5EBD-761F-0640-A0DD-A2788D2EC78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EBDA8CCF-CB0C-BA45-8FC4-6297C0E0A9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9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BA7599CD-99BD-894F-B372-42E0EEA2CE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FDCCCC4-4E98-AF48-BBF9-0C662158A2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62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182F045-38A8-AF47-A713-4B59F2866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8BDEB4C-56D6-2044-957E-BC1323994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8188A1-BE1F-C149-9AF3-45615472F9A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6725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97">
          <p15:clr>
            <a:srgbClr val="FBAE40"/>
          </p15:clr>
        </p15:guide>
        <p15:guide id="3" pos="2421">
          <p15:clr>
            <a:srgbClr val="FBAE40"/>
          </p15:clr>
        </p15:guide>
        <p15:guide id="4" pos="4849">
          <p15:clr>
            <a:srgbClr val="FBAE40"/>
          </p15:clr>
        </p15:guide>
        <p15:guide id="6" orient="horz" pos="3086">
          <p15:clr>
            <a:srgbClr val="FBAE40"/>
          </p15:clr>
        </p15:guide>
        <p15:guide id="7" orient="horz" pos="3246">
          <p15:clr>
            <a:srgbClr val="FBAE40"/>
          </p15:clr>
        </p15:guide>
        <p15:guide id="10" pos="5250">
          <p15:clr>
            <a:srgbClr val="FBAE40"/>
          </p15:clr>
        </p15:guide>
        <p15:guide id="11" pos="282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BC1680-61CD-4835-9314-C8CCCAAF2F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8677856-55AD-4DDD-B032-816B7452A7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ACFBA6-D3E3-48AA-8311-AC95756186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3E8233-3406-4DA4-B1A7-0D1EF51F0BDA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7DF2C1-3CEF-4049-BB12-537B515A66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3CFDA1-D28E-4F0A-A177-6599AC552E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1C937-4A66-4F34-97D6-A399595905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327455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/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CB66F7F6-8B6A-B445-A778-7A10C4FCF71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6C0EC67-5E7D-4248-962B-AE294DEFEA5C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EF9940F-D9D9-B343-B51A-10E10791BBBA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89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Optional 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F6B0467-EE62-FA42-87FD-561619A6F8F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Optional 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9FF451F5-7748-C949-A955-B66D566CC1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89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F2712F-0BAD-3D43-AA96-DAC8654C44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07704E5-505F-E644-8B15-34742134E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739B3E2D-28D6-FC4F-A2A2-C7D0817162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6F5F35-DBF5-C84A-BD5D-8F32E68A84A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F50F76B-FA29-B84B-8387-E972C023858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7700" y="1729029"/>
            <a:ext cx="3195638" cy="4016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07393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421">
          <p15:clr>
            <a:srgbClr val="FBAE40"/>
          </p15:clr>
        </p15:guide>
        <p15:guide id="5" pos="2826">
          <p15:clr>
            <a:srgbClr val="FBAE40"/>
          </p15:clr>
        </p15:guide>
        <p15:guide id="6" pos="4849">
          <p15:clr>
            <a:srgbClr val="FBAE40"/>
          </p15:clr>
        </p15:guide>
        <p15:guide id="8" pos="5254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2D978A-4E91-7243-A687-476C0D745A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able title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8DD65DAE-F216-2E49-ACAE-54335084F531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40080" y="1719072"/>
            <a:ext cx="10902950" cy="4026091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47BB281B-EE6E-F544-82BA-54DA61494E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29D87B-3C1F-B940-B037-28498C722E9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26691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3056A7-D588-4A4A-9743-81A8FDEA06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B63015DA-BAD6-D641-B5F3-2ED5079D3C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 b="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E5473F-D95C-3441-AFDD-17B1087611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1581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15F6962C-2D7D-9C4E-A349-25554E83F8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169E62-1DA9-CD45-BB12-5DDC2926A42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638374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24406D9-1546-F048-999E-B1C3935E3C50}"/>
              </a:ext>
            </a:extLst>
          </p:cNvPr>
          <p:cNvGrpSpPr/>
          <p:nvPr/>
        </p:nvGrpSpPr>
        <p:grpSpPr>
          <a:xfrm>
            <a:off x="8157625" y="524289"/>
            <a:ext cx="4034375" cy="5796153"/>
            <a:chOff x="7627349" y="524289"/>
            <a:chExt cx="4034375" cy="5796153"/>
          </a:xfrm>
          <a:solidFill>
            <a:schemeClr val="bg1"/>
          </a:solidFill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D84C793A-4639-4F48-91B8-FD66287147D7}"/>
                </a:ext>
              </a:extLst>
            </p:cNvPr>
            <p:cNvSpPr/>
            <p:nvPr/>
          </p:nvSpPr>
          <p:spPr>
            <a:xfrm>
              <a:off x="7627349" y="2695674"/>
              <a:ext cx="541849" cy="1751874"/>
            </a:xfrm>
            <a:custGeom>
              <a:avLst/>
              <a:gdLst>
                <a:gd name="connsiteX0" fmla="*/ 541850 w 541849"/>
                <a:gd name="connsiteY0" fmla="*/ 0 h 1751874"/>
                <a:gd name="connsiteX1" fmla="*/ 0 w 541849"/>
                <a:gd name="connsiteY1" fmla="*/ 0 h 1751874"/>
                <a:gd name="connsiteX2" fmla="*/ 0 w 541849"/>
                <a:gd name="connsiteY2" fmla="*/ 919195 h 1751874"/>
                <a:gd name="connsiteX3" fmla="*/ 0 w 541849"/>
                <a:gd name="connsiteY3" fmla="*/ 1751874 h 1751874"/>
                <a:gd name="connsiteX4" fmla="*/ 541850 w 541849"/>
                <a:gd name="connsiteY4" fmla="*/ 1751874 h 1751874"/>
                <a:gd name="connsiteX5" fmla="*/ 54185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541850" y="0"/>
                  </a:moveTo>
                  <a:lnTo>
                    <a:pt x="0" y="0"/>
                  </a:ln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D7DF4404-7F59-6C45-BC46-3436E9AA2E4D}"/>
                </a:ext>
              </a:extLst>
            </p:cNvPr>
            <p:cNvSpPr/>
            <p:nvPr/>
          </p:nvSpPr>
          <p:spPr>
            <a:xfrm>
              <a:off x="8791354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54618A3F-A28E-5C47-B782-E34CDA443E92}"/>
                </a:ext>
              </a:extLst>
            </p:cNvPr>
            <p:cNvSpPr/>
            <p:nvPr/>
          </p:nvSpPr>
          <p:spPr>
            <a:xfrm>
              <a:off x="9955360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98396A27-49EC-F348-860F-8E26802DC608}"/>
                </a:ext>
              </a:extLst>
            </p:cNvPr>
            <p:cNvSpPr/>
            <p:nvPr/>
          </p:nvSpPr>
          <p:spPr>
            <a:xfrm>
              <a:off x="7627349" y="1874158"/>
              <a:ext cx="4033867" cy="493467"/>
            </a:xfrm>
            <a:custGeom>
              <a:avLst/>
              <a:gdLst>
                <a:gd name="connsiteX0" fmla="*/ 0 w 4033867"/>
                <a:gd name="connsiteY0" fmla="*/ 493468 h 493467"/>
                <a:gd name="connsiteX1" fmla="*/ 2016934 w 4033867"/>
                <a:gd name="connsiteY1" fmla="*/ 493468 h 493467"/>
                <a:gd name="connsiteX2" fmla="*/ 4033868 w 4033867"/>
                <a:gd name="connsiteY2" fmla="*/ 493468 h 493467"/>
                <a:gd name="connsiteX3" fmla="*/ 4033868 w 4033867"/>
                <a:gd name="connsiteY3" fmla="*/ 0 h 493467"/>
                <a:gd name="connsiteX4" fmla="*/ 0 w 4033867"/>
                <a:gd name="connsiteY4" fmla="*/ 0 h 493467"/>
                <a:gd name="connsiteX5" fmla="*/ 0 w 4033867"/>
                <a:gd name="connsiteY5" fmla="*/ 493468 h 49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33867" h="493467">
                  <a:moveTo>
                    <a:pt x="0" y="493468"/>
                  </a:moveTo>
                  <a:lnTo>
                    <a:pt x="2016934" y="493468"/>
                  </a:lnTo>
                  <a:lnTo>
                    <a:pt x="4033868" y="493468"/>
                  </a:lnTo>
                  <a:lnTo>
                    <a:pt x="4033868" y="0"/>
                  </a:lnTo>
                  <a:lnTo>
                    <a:pt x="0" y="0"/>
                  </a:lnTo>
                  <a:lnTo>
                    <a:pt x="0" y="493468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ACD75FE-FCEC-BF4D-91B4-4520B4DB5F1E}"/>
                </a:ext>
              </a:extLst>
            </p:cNvPr>
            <p:cNvSpPr/>
            <p:nvPr/>
          </p:nvSpPr>
          <p:spPr>
            <a:xfrm>
              <a:off x="7627349" y="524289"/>
              <a:ext cx="4033867" cy="1181785"/>
            </a:xfrm>
            <a:custGeom>
              <a:avLst/>
              <a:gdLst>
                <a:gd name="connsiteX0" fmla="*/ 2016934 w 4033867"/>
                <a:gd name="connsiteY0" fmla="*/ 0 h 1181785"/>
                <a:gd name="connsiteX1" fmla="*/ 0 w 4033867"/>
                <a:gd name="connsiteY1" fmla="*/ 672207 h 1181785"/>
                <a:gd name="connsiteX2" fmla="*/ 0 w 4033867"/>
                <a:gd name="connsiteY2" fmla="*/ 1181786 h 1181785"/>
                <a:gd name="connsiteX3" fmla="*/ 2016934 w 4033867"/>
                <a:gd name="connsiteY3" fmla="*/ 509579 h 1181785"/>
                <a:gd name="connsiteX4" fmla="*/ 4033868 w 4033867"/>
                <a:gd name="connsiteY4" fmla="*/ 1181786 h 1181785"/>
                <a:gd name="connsiteX5" fmla="*/ 4033868 w 4033867"/>
                <a:gd name="connsiteY5" fmla="*/ 672207 h 1181785"/>
                <a:gd name="connsiteX6" fmla="*/ 2016934 w 4033867"/>
                <a:gd name="connsiteY6" fmla="*/ 0 h 1181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33867" h="1181785">
                  <a:moveTo>
                    <a:pt x="2016934" y="0"/>
                  </a:moveTo>
                  <a:lnTo>
                    <a:pt x="0" y="672207"/>
                  </a:lnTo>
                  <a:lnTo>
                    <a:pt x="0" y="1181786"/>
                  </a:lnTo>
                  <a:lnTo>
                    <a:pt x="2016934" y="509579"/>
                  </a:lnTo>
                  <a:lnTo>
                    <a:pt x="4033868" y="1181786"/>
                  </a:lnTo>
                  <a:lnTo>
                    <a:pt x="4033868" y="672207"/>
                  </a:lnTo>
                  <a:lnTo>
                    <a:pt x="2016934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8FC8E4B5-0CBF-864B-9110-D197114B5BD8}"/>
                </a:ext>
              </a:extLst>
            </p:cNvPr>
            <p:cNvSpPr/>
            <p:nvPr/>
          </p:nvSpPr>
          <p:spPr>
            <a:xfrm>
              <a:off x="7627349" y="440860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116 h 1071548"/>
                <a:gd name="connsiteX6" fmla="*/ 2539753 w 4034375"/>
                <a:gd name="connsiteY6" fmla="*/ 871116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557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1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116"/>
                  </a:cubicBezTo>
                  <a:lnTo>
                    <a:pt x="2539753" y="871116"/>
                  </a:lnTo>
                  <a:cubicBezTo>
                    <a:pt x="3827582" y="871116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DFD3E64-0D9B-8344-AE26-7E6565667679}"/>
                </a:ext>
              </a:extLst>
            </p:cNvPr>
            <p:cNvSpPr/>
            <p:nvPr/>
          </p:nvSpPr>
          <p:spPr>
            <a:xfrm>
              <a:off x="7627349" y="524889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243 h 1071548"/>
                <a:gd name="connsiteX6" fmla="*/ 2539753 w 4034375"/>
                <a:gd name="connsiteY6" fmla="*/ 871243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684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2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243"/>
                  </a:cubicBezTo>
                  <a:lnTo>
                    <a:pt x="2539753" y="871243"/>
                  </a:lnTo>
                  <a:cubicBezTo>
                    <a:pt x="3827582" y="871243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9A52CD8B-2E97-4342-8DBF-61223C03F534}"/>
                </a:ext>
              </a:extLst>
            </p:cNvPr>
            <p:cNvSpPr/>
            <p:nvPr/>
          </p:nvSpPr>
          <p:spPr>
            <a:xfrm>
              <a:off x="11119366" y="2695674"/>
              <a:ext cx="541849" cy="1661807"/>
            </a:xfrm>
            <a:custGeom>
              <a:avLst/>
              <a:gdLst>
                <a:gd name="connsiteX0" fmla="*/ 0 w 541849"/>
                <a:gd name="connsiteY0" fmla="*/ 0 h 1661807"/>
                <a:gd name="connsiteX1" fmla="*/ 0 w 541849"/>
                <a:gd name="connsiteY1" fmla="*/ 1661807 h 1661807"/>
                <a:gd name="connsiteX2" fmla="*/ 541849 w 541849"/>
                <a:gd name="connsiteY2" fmla="*/ 1382725 h 1661807"/>
                <a:gd name="connsiteX3" fmla="*/ 541849 w 541849"/>
                <a:gd name="connsiteY3" fmla="*/ 0 h 1661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849" h="1661807">
                  <a:moveTo>
                    <a:pt x="0" y="0"/>
                  </a:moveTo>
                  <a:lnTo>
                    <a:pt x="0" y="1661807"/>
                  </a:lnTo>
                  <a:cubicBezTo>
                    <a:pt x="444035" y="1559688"/>
                    <a:pt x="534618" y="1402261"/>
                    <a:pt x="541849" y="1382725"/>
                  </a:cubicBezTo>
                  <a:lnTo>
                    <a:pt x="541849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892808"/>
            <a:ext cx="7315200" cy="2852737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divider</a:t>
            </a:r>
          </a:p>
        </p:txBody>
      </p:sp>
    </p:spTree>
    <p:extLst>
      <p:ext uri="{BB962C8B-B14F-4D97-AF65-F5344CB8AC3E}">
        <p14:creationId xmlns:p14="http://schemas.microsoft.com/office/powerpoint/2010/main" val="296846606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7444408" cy="2576378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quot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42999A3-BC06-724D-AB6B-6565ED0B151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/>
              <a:t>Author of quot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63A591-BBA0-C146-B4F7-E67520528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51674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oi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796841"/>
            <a:ext cx="10911840" cy="2852737"/>
          </a:xfrm>
        </p:spPr>
        <p:txBody>
          <a:bodyPr anchor="ctr"/>
          <a:lstStyle>
            <a:lvl1pPr>
              <a:lnSpc>
                <a:spcPct val="10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Factoid teal—Georgia font in sentence case. Use this slide for hero statement.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0A040A92-7E8A-6B43-AD38-D5F4F6C96A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6BDDC8-3CC6-624A-9AFB-E2F2B73BA9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355018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8020C179-BE0C-9D49-90D3-2A15CB49F2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97352" y="3027076"/>
            <a:ext cx="5797296" cy="80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364764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11107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354759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0867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6E72C7-33EA-413F-8E21-7FD2D1F68F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AF7CBE-E185-48BB-B4A5-606B47F24F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D632B1-F4A7-4BE6-8212-EEA2C9F6AE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3E8233-3406-4DA4-B1A7-0D1EF51F0BDA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098041-A9DA-405E-A561-2D56266216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58C479-9569-4E6D-86BE-845AECCD5B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1C937-4A66-4F34-97D6-A399595905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305334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11107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581517"/>
            <a:ext cx="10515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99887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A01D7C-17D8-4896-98E4-E72ADBAA4C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3EA49D-EA8E-49A9-A6EB-17AFF16458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885B79-C207-46CF-8D73-898D793E7A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3E8233-3406-4DA4-B1A7-0D1EF51F0BDA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C93642-CA9B-430D-BFA6-DE350B7821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18EA32-14FB-4AFC-8438-7C998B82F4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1C937-4A66-4F34-97D6-A399595905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76919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642F10-526D-4261-BAA5-C52CBE4E7B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5109E7-5104-48B8-88C9-726DD03FA2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9B5E2D2-6F4B-4C06-8F13-2161B36C50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976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30003F-5BA2-46CA-A819-EA0A184CA4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3E8233-3406-4DA4-B1A7-0D1EF51F0BDA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CD32AFD-FD23-4BF4-9AE5-F6449DEDEA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D95F66-3C6F-42C6-99DD-53D9F5BC2B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1C937-4A66-4F34-97D6-A399595905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25986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A47B3E-8CFC-4C1C-95B0-A816713613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7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04CEF9-E296-4299-B069-0EE2BACDD2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992BF8B-B979-4686-A0D0-E450873F606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301A73-FD99-48F0-A66C-22881F615FC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11AAB9D-35BE-4A59-866E-0CDF73457D5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E19D08-8328-4872-9E2D-7336B7677A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3E8233-3406-4DA4-B1A7-0D1EF51F0BDA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1F88B7A-05B1-4914-81AF-AC5D1B0C1B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9A2D5F-5E10-4E37-836D-8194FA2C94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1C937-4A66-4F34-97D6-A399595905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2406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809E49-BEE9-431B-92E0-D218477C37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6F14727-60C8-44B1-AC2E-CB9B857949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3E8233-3406-4DA4-B1A7-0D1EF51F0BDA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BA6192-CD34-4F6C-BDC9-78721BD6C9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C71A456-1EDE-472D-B3E2-3E9A05065A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1C937-4A66-4F34-97D6-A399595905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26451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61D271C-DFFA-4726-BB63-62686D9B71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3E8233-3406-4DA4-B1A7-0D1EF51F0BDA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FCA092-6C4D-4B07-9464-07A49421E4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F69F82-0E0A-47CC-AA40-E58218CB45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1C937-4A66-4F34-97D6-A399595905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63002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5F015-186E-42FF-BA24-750F5FCB6F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888813-91DF-4D22-A184-CFC1E35798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3A1111-24E2-443B-B427-7A84631CC4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A581E71-E7C1-4B06-A8A9-ACFBA43F40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3E8233-3406-4DA4-B1A7-0D1EF51F0BDA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82182C5-A695-401C-8036-1FE74699D6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D9AF56-CE87-4C3C-B3FE-FD47CB96A8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1C937-4A66-4F34-97D6-A399595905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9580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C2B2C4A4-27A2-4287-A3E0-00E9520173BE}" type="datetime1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50310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DBA26-0958-45E9-80C6-74C85A1016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92095E4-655C-4AEA-A3F0-D3976604053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40BEBB-6EC6-40D1-9C7E-E7AF9E2395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5F17D78-E126-427A-8FC6-BCFEC32474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3E8233-3406-4DA4-B1A7-0D1EF51F0BDA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034905-C5BF-4569-9BF3-52C8877A72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50C4B8-A244-4E31-942E-055A67D320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1C937-4A66-4F34-97D6-A399595905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25180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CF0BFE-9DD7-4A82-9097-827A991C70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C1D0A68-EF59-4656-B0E5-13D7CB96012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882A8F-0779-4F49-A4F1-07BA8F76FB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3E8233-3406-4DA4-B1A7-0D1EF51F0BDA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78DA37-8049-490E-9600-EBAB52781A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7BDD14-B535-4EA3-8A2D-6688417E6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1C937-4A66-4F34-97D6-A399595905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29473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ECAF935-16ED-4C04-AFF0-F5D79FD043B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1B6FB41-1C5B-4E9B-9E86-38D3CC4C0BA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6835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536798-29B6-4562-9ACD-27A3540EB7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3E8233-3406-4DA4-B1A7-0D1EF51F0BDA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833FB1-08CB-4616-AC57-611BEF1E0B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37E6AE-8CC9-4F1A-89FA-5EC8644B87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1C937-4A66-4F34-97D6-A399595905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6648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5838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8A2D3A77-0D0E-425A-8FCE-1E2011D200D8}" type="datetime1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49755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E4E7FF0-082F-494F-AE77-37FDED2A2B62}" type="datetime1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24258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219071FD-AE70-48B0-9E10-B25A09946277}" type="datetime1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526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872082E8-913C-47BC-9B7B-5D1BCA096780}" type="datetime1">
              <a:rPr lang="en-US" smtClean="0"/>
              <a:t>7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21268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7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1075445-E6C2-4FB7-A2BA-17C669E03FEF}" type="datetime1">
              <a:rPr lang="en-US" smtClean="0"/>
              <a:t>7/11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864277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2BA4920-827F-4967-86AA-2665C6B1C927}" type="datetime1">
              <a:rPr lang="en-US" smtClean="0"/>
              <a:t>7/1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74991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65460F34-DFF8-429E-95B0-9DB0E154EEBC}" type="datetime1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68175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A67C27A2-8395-4DB5-B7FE-0AFCFD5DC07C}" type="datetime1">
              <a:rPr lang="en-US" smtClean="0"/>
              <a:t>7/1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33807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5B233573-48E3-4103-89A1-3A0296F92A94}" type="datetime1">
              <a:rPr lang="en-US" smtClean="0"/>
              <a:t>7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62830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2A273088-5DA0-4671-9830-D6FEECA530E5}" type="datetime1">
              <a:rPr lang="en-US" smtClean="0"/>
              <a:t>7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61412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39E14CF2-2770-4E23-B5B0-23D126D30EFF}" type="datetime1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380173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6835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601DED67-81A2-467F-8F56-4519FB92639E}" type="datetime1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47616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C37ECC3E-D02A-471E-B663-901EB3E42E3F}" type="datetime1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663356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990C43E-856D-456D-BD00-35547566DE1E}" type="datetime1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786051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799F52FA-6EF0-4D79-AD28-44D4FA78F24C}" type="datetime1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46653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159E7D7-5160-48A1-9DB9-8934885B53C2}" type="datetime1">
              <a:rPr lang="en-US" smtClean="0"/>
              <a:t>7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545321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7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D3128A0-EDCA-419E-9545-2130DDA74C1F}" type="datetime1">
              <a:rPr lang="en-US" smtClean="0"/>
              <a:t>7/11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53766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FE4D93E-4E4F-47D5-84BE-C1E2E6DC377F}" type="datetime1">
              <a:rPr lang="en-US" smtClean="0"/>
              <a:t>7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71017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BE0AD2C-092B-4407-AEDA-7687BA06D3AF}" type="datetime1">
              <a:rPr lang="en-US" smtClean="0"/>
              <a:t>7/1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3151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4B1B6E00-CDF2-499A-9958-DE3F81E9BA47}" type="datetime1">
              <a:rPr lang="en-US" smtClean="0"/>
              <a:t>7/1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936702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4545858-81C0-4B26-96C6-4CF3810EAE84}" type="datetime1">
              <a:rPr lang="en-US" smtClean="0"/>
              <a:t>7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112390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AA190517-9ECF-41A1-B68D-7E854CB92DD2}" type="datetime1">
              <a:rPr lang="en-US" smtClean="0"/>
              <a:t>7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88232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E6DF0F4E-349D-47C5-BD1E-90DB51D58A25}" type="datetime1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589988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6835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B4FE08A-BF4B-4D80-BDC8-950DDC602FC2}" type="datetime1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590537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591362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11107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571578"/>
            <a:ext cx="10515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322644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536336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98260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2258759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2258759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8293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7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8861C7F1-BE3C-4008-A07F-8524B5C6FFD9}" type="datetime1">
              <a:rPr lang="en-US" smtClean="0"/>
              <a:t>7/11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01897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7" y="75815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318" y="2066171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318" y="2898104"/>
            <a:ext cx="5158316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2066171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898104"/>
            <a:ext cx="518371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188916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17524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311975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309367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583246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8462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82221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2242720"/>
            <a:ext cx="10515600" cy="43513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055547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93366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C37ECC3E-D02A-471E-B663-901EB3E42E3F}" type="datetime1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643416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990C43E-856D-456D-BD00-35547566DE1E}" type="datetime1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0715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799F52FA-6EF0-4D79-AD28-44D4FA78F24C}" type="datetime1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5326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970B26C-93DF-41C0-9AEF-F033CE98DE26}" type="datetime1">
              <a:rPr lang="en-US" smtClean="0"/>
              <a:t>7/1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57673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159E7D7-5160-48A1-9DB9-8934885B53C2}" type="datetime1">
              <a:rPr lang="en-US" smtClean="0"/>
              <a:t>7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385423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7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D3128A0-EDCA-419E-9545-2130DDA74C1F}" type="datetime1">
              <a:rPr lang="en-US" smtClean="0"/>
              <a:t>7/11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64210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BE0AD2C-092B-4407-AEDA-7687BA06D3AF}" type="datetime1">
              <a:rPr lang="en-US" smtClean="0"/>
              <a:t>7/1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81224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4B1B6E00-CDF2-499A-9958-DE3F81E9BA47}" type="datetime1">
              <a:rPr lang="en-US" smtClean="0"/>
              <a:t>7/1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39974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4545858-81C0-4B26-96C6-4CF3810EAE84}" type="datetime1">
              <a:rPr lang="en-US" smtClean="0"/>
              <a:t>7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33050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AA190517-9ECF-41A1-B68D-7E854CB92DD2}" type="datetime1">
              <a:rPr lang="en-US" smtClean="0"/>
              <a:t>7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691934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E6DF0F4E-349D-47C5-BD1E-90DB51D58A25}" type="datetime1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248818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6835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FB4FE08A-BF4B-4D80-BDC8-950DDC602FC2}" type="datetime1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73103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159E7D7-5160-48A1-9DB9-8934885B53C2}" type="datetime1">
              <a:rPr lang="en-US" smtClean="0"/>
              <a:t>7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429340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609600" y="2509838"/>
            <a:ext cx="10441517" cy="374465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475027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0DC2E92B-947D-4887-BFEB-28A3E9818A95}" type="datetime1">
              <a:rPr lang="en-US" smtClean="0"/>
              <a:t>7/1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77319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4804507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6164617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154818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595717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7" y="111107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318" y="2427116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318" y="3251028"/>
            <a:ext cx="5158316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2427116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3251028"/>
            <a:ext cx="518371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9057559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45598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393750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456931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1026691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155691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626891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041411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826166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1356392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426366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749213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53141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4F277EF8-9A9F-429E-9A08-38AA7ABB353D}" type="datetime1">
              <a:rPr lang="en-US" smtClean="0"/>
              <a:t>7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2394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1215356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1215356"/>
            <a:ext cx="76835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597270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  <p:pic>
        <p:nvPicPr>
          <p:cNvPr id="1026" name="Picture 1" descr="image001">
            <a:extLst>
              <a:ext uri="{FF2B5EF4-FFF2-40B4-BE49-F238E27FC236}">
                <a16:creationId xmlns:a16="http://schemas.microsoft.com/office/drawing/2014/main" id="{38A287C2-FBF6-4197-BE12-B519C9F857F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6544" y="6251713"/>
            <a:ext cx="1848953" cy="449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6293551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11107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571578"/>
            <a:ext cx="10515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1" descr="image001">
            <a:extLst>
              <a:ext uri="{FF2B5EF4-FFF2-40B4-BE49-F238E27FC236}">
                <a16:creationId xmlns:a16="http://schemas.microsoft.com/office/drawing/2014/main" id="{FA31F5C7-EE25-4803-8CBE-F87FE9BC7C0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6544" y="6251713"/>
            <a:ext cx="1848953" cy="449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2549973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1" descr="image001">
            <a:extLst>
              <a:ext uri="{FF2B5EF4-FFF2-40B4-BE49-F238E27FC236}">
                <a16:creationId xmlns:a16="http://schemas.microsoft.com/office/drawing/2014/main" id="{94B7E44E-C9C9-498F-927B-A0D816C017C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6544" y="6251713"/>
            <a:ext cx="1848953" cy="449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033918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98260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2258759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2258759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1" descr="image001">
            <a:extLst>
              <a:ext uri="{FF2B5EF4-FFF2-40B4-BE49-F238E27FC236}">
                <a16:creationId xmlns:a16="http://schemas.microsoft.com/office/drawing/2014/main" id="{6375D0EB-B835-4EBD-83B8-A1FF981CAED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6544" y="6251713"/>
            <a:ext cx="1848953" cy="449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2251047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7" y="75815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318" y="2066171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318" y="2898104"/>
            <a:ext cx="5158316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2066171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898104"/>
            <a:ext cx="518371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1" descr="image001">
            <a:extLst>
              <a:ext uri="{FF2B5EF4-FFF2-40B4-BE49-F238E27FC236}">
                <a16:creationId xmlns:a16="http://schemas.microsoft.com/office/drawing/2014/main" id="{F99E9E82-CAD1-4827-8522-28E93622615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6544" y="6251713"/>
            <a:ext cx="1848953" cy="449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0817912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17524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1" descr="image001">
            <a:extLst>
              <a:ext uri="{FF2B5EF4-FFF2-40B4-BE49-F238E27FC236}">
                <a16:creationId xmlns:a16="http://schemas.microsoft.com/office/drawing/2014/main" id="{C467E1D0-9FDB-4ED5-B2B5-31FF703CA7F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6544" y="6251713"/>
            <a:ext cx="1848953" cy="449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9505103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1" descr="image001">
            <a:extLst>
              <a:ext uri="{FF2B5EF4-FFF2-40B4-BE49-F238E27FC236}">
                <a16:creationId xmlns:a16="http://schemas.microsoft.com/office/drawing/2014/main" id="{B0F48831-E0C4-4362-879F-43DDF0D6781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6544" y="6251713"/>
            <a:ext cx="1848953" cy="449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7977121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1" descr="image001">
            <a:extLst>
              <a:ext uri="{FF2B5EF4-FFF2-40B4-BE49-F238E27FC236}">
                <a16:creationId xmlns:a16="http://schemas.microsoft.com/office/drawing/2014/main" id="{021A55EB-4258-4D4E-A13B-2B82494D8A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6544" y="6251713"/>
            <a:ext cx="1848953" cy="449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289056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1" descr="image001">
            <a:extLst>
              <a:ext uri="{FF2B5EF4-FFF2-40B4-BE49-F238E27FC236}">
                <a16:creationId xmlns:a16="http://schemas.microsoft.com/office/drawing/2014/main" id="{FF354279-1EC3-472D-90CC-454EA15602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6544" y="6251713"/>
            <a:ext cx="1848953" cy="449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35888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6AB12FE7-1E26-4D5A-A14F-67A8BDD89BC4}" type="datetime1">
              <a:rPr lang="en-US" smtClean="0"/>
              <a:t>7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/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267640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82221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2242720"/>
            <a:ext cx="10515600" cy="43513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3BCC1D-D3C6-4286-988C-4F8BBCBCCA96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1" descr="image001">
            <a:extLst>
              <a:ext uri="{FF2B5EF4-FFF2-40B4-BE49-F238E27FC236}">
                <a16:creationId xmlns:a16="http://schemas.microsoft.com/office/drawing/2014/main" id="{53AAE8BC-3D6F-4597-A615-F0012904D8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6544" y="6251713"/>
            <a:ext cx="1848953" cy="449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9538520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image001">
            <a:extLst>
              <a:ext uri="{FF2B5EF4-FFF2-40B4-BE49-F238E27FC236}">
                <a16:creationId xmlns:a16="http://schemas.microsoft.com/office/drawing/2014/main" id="{0DA32F22-C646-45ED-BBF1-054092EE871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6544" y="6251713"/>
            <a:ext cx="1848953" cy="449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2538231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3988611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11107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571578"/>
            <a:ext cx="10515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229115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9314289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98260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2258759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2258759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7336047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7" y="75815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318" y="2066171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318" y="2898104"/>
            <a:ext cx="5158316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2066171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898104"/>
            <a:ext cx="518371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38449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17524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111796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294279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40947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theme" Target="../theme/theme10.xml"/><Relationship Id="rId5" Type="http://schemas.openxmlformats.org/officeDocument/2006/relationships/slideLayout" Target="../slideLayouts/slideLayout96.xml"/><Relationship Id="rId15" Type="http://schemas.openxmlformats.org/officeDocument/2006/relationships/image" Target="../media/image9.jpeg"/><Relationship Id="rId10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image" Target="../media/image6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03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106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image" Target="../media/image2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slideLayout" Target="../slideLayouts/slideLayout125.xml"/><Relationship Id="rId18" Type="http://schemas.openxmlformats.org/officeDocument/2006/relationships/slideLayout" Target="../slideLayouts/slideLayout130.xml"/><Relationship Id="rId3" Type="http://schemas.openxmlformats.org/officeDocument/2006/relationships/slideLayout" Target="../slideLayouts/slideLayout115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119.xml"/><Relationship Id="rId12" Type="http://schemas.openxmlformats.org/officeDocument/2006/relationships/slideLayout" Target="../slideLayouts/slideLayout124.xml"/><Relationship Id="rId17" Type="http://schemas.openxmlformats.org/officeDocument/2006/relationships/slideLayout" Target="../slideLayouts/slideLayout129.xml"/><Relationship Id="rId2" Type="http://schemas.openxmlformats.org/officeDocument/2006/relationships/slideLayout" Target="../slideLayouts/slideLayout114.xml"/><Relationship Id="rId16" Type="http://schemas.openxmlformats.org/officeDocument/2006/relationships/slideLayout" Target="../slideLayouts/slideLayout128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117.xml"/><Relationship Id="rId15" Type="http://schemas.openxmlformats.org/officeDocument/2006/relationships/slideLayout" Target="../slideLayouts/slideLayout127.xml"/><Relationship Id="rId23" Type="http://schemas.openxmlformats.org/officeDocument/2006/relationships/image" Target="../media/image10.emf"/><Relationship Id="rId10" Type="http://schemas.openxmlformats.org/officeDocument/2006/relationships/slideLayout" Target="../slideLayouts/slideLayout122.xml"/><Relationship Id="rId19" Type="http://schemas.openxmlformats.org/officeDocument/2006/relationships/theme" Target="../theme/theme12.xml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Relationship Id="rId14" Type="http://schemas.openxmlformats.org/officeDocument/2006/relationships/slideLayout" Target="../slideLayouts/slideLayout126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6.xml"/><Relationship Id="rId16" Type="http://schemas.openxmlformats.org/officeDocument/2006/relationships/image" Target="../media/image5.jpeg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47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image" Target="../media/image3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8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5" Type="http://schemas.openxmlformats.org/officeDocument/2006/relationships/image" Target="../media/image8.png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image" Target="../media/image3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8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445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128535"/>
            <a:ext cx="10515600" cy="49531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3197" y="6262962"/>
            <a:ext cx="801763" cy="481695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 flipV="1">
            <a:off x="0" y="6136461"/>
            <a:ext cx="12192000" cy="45719"/>
          </a:xfrm>
          <a:prstGeom prst="rect">
            <a:avLst/>
          </a:prstGeom>
          <a:solidFill>
            <a:srgbClr val="80B63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9" name="Picture 8" descr="HMS_Affiliate_NEW_8.pn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6799" y="6396314"/>
            <a:ext cx="2257268" cy="293515"/>
          </a:xfrm>
          <a:prstGeom prst="rect">
            <a:avLst/>
          </a:prstGeom>
        </p:spPr>
      </p:pic>
      <p:pic>
        <p:nvPicPr>
          <p:cNvPr id="10" name="Picture 9" descr="BH_BWH.png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1" y="6273156"/>
            <a:ext cx="2164436" cy="466925"/>
          </a:xfrm>
          <a:prstGeom prst="rect">
            <a:avLst/>
          </a:prstGeom>
        </p:spPr>
      </p:pic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3800" y="6360508"/>
            <a:ext cx="609600" cy="365125"/>
          </a:xfrm>
          <a:prstGeom prst="rect">
            <a:avLst/>
          </a:prstGeom>
        </p:spPr>
        <p:txBody>
          <a:bodyPr/>
          <a:lstStyle>
            <a:lvl1pPr algn="r">
              <a:defRPr sz="1200" b="1"/>
            </a:lvl1pPr>
          </a:lstStyle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90F2916-C91C-4F57-919F-32CE668361B0}"/>
              </a:ext>
            </a:extLst>
          </p:cNvPr>
          <p:cNvPicPr/>
          <p:nvPr userDrawn="1"/>
        </p:nvPicPr>
        <p:blipFill>
          <a:blip r:embed="rId16"/>
          <a:stretch>
            <a:fillRect/>
          </a:stretch>
        </p:blipFill>
        <p:spPr>
          <a:xfrm>
            <a:off x="9015552" y="6389649"/>
            <a:ext cx="2316480" cy="269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049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6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89451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35501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3BCC1D-D3C6-4286-988C-4F8BBCBCCA96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F63280E-1286-C14C-88B6-1BCEFBE122EC}"/>
              </a:ext>
            </a:extLst>
          </p:cNvPr>
          <p:cNvSpPr/>
          <p:nvPr userDrawn="1"/>
        </p:nvSpPr>
        <p:spPr>
          <a:xfrm>
            <a:off x="407494" y="6025390"/>
            <a:ext cx="11784505" cy="842181"/>
          </a:xfrm>
          <a:prstGeom prst="rect">
            <a:avLst/>
          </a:prstGeom>
          <a:solidFill>
            <a:srgbClr val="F1E0C1">
              <a:alpha val="7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3" name="Picture 12" descr="HMS_Affiliate_NEW_8.png">
            <a:extLst>
              <a:ext uri="{FF2B5EF4-FFF2-40B4-BE49-F238E27FC236}">
                <a16:creationId xmlns:a16="http://schemas.microsoft.com/office/drawing/2014/main" id="{24FEA5AB-E319-F94C-9C5F-88D05008EE93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9499" y="6290356"/>
            <a:ext cx="2740815" cy="35639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FD8A2946-B9CF-0B4A-9637-B340FA49D071}"/>
              </a:ext>
            </a:extLst>
          </p:cNvPr>
          <p:cNvSpPr/>
          <p:nvPr userDrawn="1"/>
        </p:nvSpPr>
        <p:spPr>
          <a:xfrm>
            <a:off x="1" y="6025388"/>
            <a:ext cx="407495" cy="842182"/>
          </a:xfrm>
          <a:prstGeom prst="rect">
            <a:avLst/>
          </a:prstGeom>
          <a:solidFill>
            <a:srgbClr val="003DA6">
              <a:alpha val="76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5" name="Picture 14" descr="BH_BWH.png">
            <a:extLst>
              <a:ext uri="{FF2B5EF4-FFF2-40B4-BE49-F238E27FC236}">
                <a16:creationId xmlns:a16="http://schemas.microsoft.com/office/drawing/2014/main" id="{61304A8D-2067-6B4B-80B8-4D7392614C0B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564" y="6198104"/>
            <a:ext cx="2330009" cy="50264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A43B6CD-6744-304E-9604-5FED79F8D7E3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5558073" y="6257691"/>
            <a:ext cx="3283944" cy="393941"/>
          </a:xfrm>
          <a:prstGeom prst="rect">
            <a:avLst/>
          </a:prstGeom>
        </p:spPr>
      </p:pic>
      <p:pic>
        <p:nvPicPr>
          <p:cNvPr id="17" name="Picture 1" descr="image001">
            <a:extLst>
              <a:ext uri="{FF2B5EF4-FFF2-40B4-BE49-F238E27FC236}">
                <a16:creationId xmlns:a16="http://schemas.microsoft.com/office/drawing/2014/main" id="{81B00E30-FFD3-427E-A682-1D6ECAA4A26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1641" y="6247058"/>
            <a:ext cx="1848953" cy="393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37221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445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128535"/>
            <a:ext cx="10515600" cy="49531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3197" y="6262962"/>
            <a:ext cx="801763" cy="481695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 flipV="1">
            <a:off x="0" y="6136461"/>
            <a:ext cx="12192000" cy="45719"/>
          </a:xfrm>
          <a:prstGeom prst="rect">
            <a:avLst/>
          </a:prstGeom>
          <a:solidFill>
            <a:srgbClr val="80B63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HMS_Affiliate_NEW_8.pn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6799" y="6396314"/>
            <a:ext cx="2257268" cy="293515"/>
          </a:xfrm>
          <a:prstGeom prst="rect">
            <a:avLst/>
          </a:prstGeom>
        </p:spPr>
      </p:pic>
      <p:pic>
        <p:nvPicPr>
          <p:cNvPr id="10" name="Picture 9" descr="BH_BWH.png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1" y="6273156"/>
            <a:ext cx="2164436" cy="466925"/>
          </a:xfrm>
          <a:prstGeom prst="rect">
            <a:avLst/>
          </a:prstGeom>
        </p:spPr>
      </p:pic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3800" y="6360508"/>
            <a:ext cx="609600" cy="365125"/>
          </a:xfrm>
          <a:prstGeom prst="rect">
            <a:avLst/>
          </a:prstGeom>
        </p:spPr>
        <p:txBody>
          <a:bodyPr/>
          <a:lstStyle>
            <a:lvl1pPr algn="r">
              <a:defRPr sz="1200" b="1"/>
            </a:lvl1pPr>
          </a:lstStyle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90F2916-C91C-4F57-919F-32CE668361B0}"/>
              </a:ext>
            </a:extLst>
          </p:cNvPr>
          <p:cNvPicPr/>
          <p:nvPr userDrawn="1"/>
        </p:nvPicPr>
        <p:blipFill>
          <a:blip r:embed="rId16"/>
          <a:stretch>
            <a:fillRect/>
          </a:stretch>
        </p:blipFill>
        <p:spPr>
          <a:xfrm>
            <a:off x="9015552" y="6389649"/>
            <a:ext cx="2316480" cy="269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049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DEEDC80-A6AE-4D71-8BED-4E85BC9C5D6B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699790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530" imgH="531" progId="TCLayout.ActiveDocument.1">
                  <p:embed/>
                </p:oleObj>
              </mc:Choice>
              <mc:Fallback>
                <p:oleObj name="think-cell Slide" r:id="rId22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DEEDC80-A6AE-4D71-8BED-4E85BC9C5D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8D99B60-9158-488E-8BCC-87D5B5BCDFBF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8B7701-A632-3D47-AED3-D4B4366A6C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36324" y="6362188"/>
            <a:ext cx="7707596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lang="en-US"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BB7F75-52C6-40D5-8388-347CF6B3B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523875"/>
            <a:ext cx="10902950" cy="9565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809464-EA83-4E37-8A02-61A16616FE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1350" y="1719072"/>
            <a:ext cx="10902950" cy="40233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0DC250-A7AB-924E-9520-907FE62E8E91}"/>
              </a:ext>
            </a:extLst>
          </p:cNvPr>
          <p:cNvSpPr txBox="1"/>
          <p:nvPr/>
        </p:nvSpPr>
        <p:spPr>
          <a:xfrm>
            <a:off x="11200986" y="6362188"/>
            <a:ext cx="35093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9D3C46F-8465-6948-8418-CACF6F0DE93E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B496F443-CBC9-D942-BCF6-03ABB20B2848}"/>
              </a:ext>
            </a:extLst>
          </p:cNvPr>
          <p:cNvSpPr/>
          <p:nvPr userDrawn="1"/>
        </p:nvSpPr>
        <p:spPr>
          <a:xfrm>
            <a:off x="640080" y="6246683"/>
            <a:ext cx="241400" cy="345756"/>
          </a:xfrm>
          <a:custGeom>
            <a:avLst/>
            <a:gdLst>
              <a:gd name="connsiteX0" fmla="*/ 241400 w 241400"/>
              <a:gd name="connsiteY0" fmla="*/ 281835 h 345756"/>
              <a:gd name="connsiteX1" fmla="*/ 241400 w 241400"/>
              <a:gd name="connsiteY1" fmla="*/ 311912 h 345756"/>
              <a:gd name="connsiteX2" fmla="*/ 151992 w 241400"/>
              <a:gd name="connsiteY2" fmla="*/ 333806 h 345756"/>
              <a:gd name="connsiteX3" fmla="*/ 89407 w 241400"/>
              <a:gd name="connsiteY3" fmla="*/ 333806 h 345756"/>
              <a:gd name="connsiteX4" fmla="*/ 0 w 241400"/>
              <a:gd name="connsiteY4" fmla="*/ 345756 h 345756"/>
              <a:gd name="connsiteX5" fmla="*/ 0 w 241400"/>
              <a:gd name="connsiteY5" fmla="*/ 315680 h 345756"/>
              <a:gd name="connsiteX6" fmla="*/ 89407 w 241400"/>
              <a:gd name="connsiteY6" fmla="*/ 303730 h 345756"/>
              <a:gd name="connsiteX7" fmla="*/ 151992 w 241400"/>
              <a:gd name="connsiteY7" fmla="*/ 303730 h 345756"/>
              <a:gd name="connsiteX8" fmla="*/ 241400 w 241400"/>
              <a:gd name="connsiteY8" fmla="*/ 281835 h 345756"/>
              <a:gd name="connsiteX9" fmla="*/ 241400 w 241400"/>
              <a:gd name="connsiteY9" fmla="*/ 231708 h 345756"/>
              <a:gd name="connsiteX10" fmla="*/ 241400 w 241400"/>
              <a:gd name="connsiteY10" fmla="*/ 261785 h 345756"/>
              <a:gd name="connsiteX11" fmla="*/ 151992 w 241400"/>
              <a:gd name="connsiteY11" fmla="*/ 283679 h 345756"/>
              <a:gd name="connsiteX12" fmla="*/ 89407 w 241400"/>
              <a:gd name="connsiteY12" fmla="*/ 283679 h 345756"/>
              <a:gd name="connsiteX13" fmla="*/ 0 w 241400"/>
              <a:gd name="connsiteY13" fmla="*/ 295631 h 345756"/>
              <a:gd name="connsiteX14" fmla="*/ 0 w 241400"/>
              <a:gd name="connsiteY14" fmla="*/ 265553 h 345756"/>
              <a:gd name="connsiteX15" fmla="*/ 89407 w 241400"/>
              <a:gd name="connsiteY15" fmla="*/ 253603 h 345756"/>
              <a:gd name="connsiteX16" fmla="*/ 151992 w 241400"/>
              <a:gd name="connsiteY16" fmla="*/ 253603 h 345756"/>
              <a:gd name="connsiteX17" fmla="*/ 241400 w 241400"/>
              <a:gd name="connsiteY17" fmla="*/ 231708 h 345756"/>
              <a:gd name="connsiteX18" fmla="*/ 208972 w 241400"/>
              <a:gd name="connsiteY18" fmla="*/ 129529 h 345756"/>
              <a:gd name="connsiteX19" fmla="*/ 241399 w 241400"/>
              <a:gd name="connsiteY19" fmla="*/ 129529 h 345756"/>
              <a:gd name="connsiteX20" fmla="*/ 241399 w 241400"/>
              <a:gd name="connsiteY20" fmla="*/ 211987 h 345756"/>
              <a:gd name="connsiteX21" fmla="*/ 208972 w 241400"/>
              <a:gd name="connsiteY21" fmla="*/ 228655 h 345756"/>
              <a:gd name="connsiteX22" fmla="*/ 139314 w 241400"/>
              <a:gd name="connsiteY22" fmla="*/ 129529 h 345756"/>
              <a:gd name="connsiteX23" fmla="*/ 171742 w 241400"/>
              <a:gd name="connsiteY23" fmla="*/ 129529 h 345756"/>
              <a:gd name="connsiteX24" fmla="*/ 171742 w 241400"/>
              <a:gd name="connsiteY24" fmla="*/ 234032 h 345756"/>
              <a:gd name="connsiteX25" fmla="*/ 139314 w 241400"/>
              <a:gd name="connsiteY25" fmla="*/ 234032 h 345756"/>
              <a:gd name="connsiteX26" fmla="*/ 139314 w 241400"/>
              <a:gd name="connsiteY26" fmla="*/ 184360 h 345756"/>
              <a:gd name="connsiteX27" fmla="*/ 69657 w 241400"/>
              <a:gd name="connsiteY27" fmla="*/ 129529 h 345756"/>
              <a:gd name="connsiteX28" fmla="*/ 102085 w 241400"/>
              <a:gd name="connsiteY28" fmla="*/ 129529 h 345756"/>
              <a:gd name="connsiteX29" fmla="*/ 102085 w 241400"/>
              <a:gd name="connsiteY29" fmla="*/ 234032 h 345756"/>
              <a:gd name="connsiteX30" fmla="*/ 69657 w 241400"/>
              <a:gd name="connsiteY30" fmla="*/ 234032 h 345756"/>
              <a:gd name="connsiteX31" fmla="*/ 69657 w 241400"/>
              <a:gd name="connsiteY31" fmla="*/ 184360 h 345756"/>
              <a:gd name="connsiteX32" fmla="*/ 0 w 241400"/>
              <a:gd name="connsiteY32" fmla="*/ 129529 h 345756"/>
              <a:gd name="connsiteX33" fmla="*/ 32428 w 241400"/>
              <a:gd name="connsiteY33" fmla="*/ 129529 h 345756"/>
              <a:gd name="connsiteX34" fmla="*/ 32428 w 241400"/>
              <a:gd name="connsiteY34" fmla="*/ 234032 h 345756"/>
              <a:gd name="connsiteX35" fmla="*/ 0 w 241400"/>
              <a:gd name="connsiteY35" fmla="*/ 234032 h 345756"/>
              <a:gd name="connsiteX36" fmla="*/ 0 w 241400"/>
              <a:gd name="connsiteY36" fmla="*/ 184360 h 345756"/>
              <a:gd name="connsiteX37" fmla="*/ 0 w 241400"/>
              <a:gd name="connsiteY37" fmla="*/ 80523 h 345756"/>
              <a:gd name="connsiteX38" fmla="*/ 241400 w 241400"/>
              <a:gd name="connsiteY38" fmla="*/ 80523 h 345756"/>
              <a:gd name="connsiteX39" fmla="*/ 241400 w 241400"/>
              <a:gd name="connsiteY39" fmla="*/ 109957 h 345756"/>
              <a:gd name="connsiteX40" fmla="*/ 120700 w 241400"/>
              <a:gd name="connsiteY40" fmla="*/ 109957 h 345756"/>
              <a:gd name="connsiteX41" fmla="*/ 0 w 241400"/>
              <a:gd name="connsiteY41" fmla="*/ 109957 h 345756"/>
              <a:gd name="connsiteX42" fmla="*/ 120700 w 241400"/>
              <a:gd name="connsiteY42" fmla="*/ 0 h 345756"/>
              <a:gd name="connsiteX43" fmla="*/ 241400 w 241400"/>
              <a:gd name="connsiteY43" fmla="*/ 40101 h 345756"/>
              <a:gd name="connsiteX44" fmla="*/ 241400 w 241400"/>
              <a:gd name="connsiteY44" fmla="*/ 70498 h 345756"/>
              <a:gd name="connsiteX45" fmla="*/ 120700 w 241400"/>
              <a:gd name="connsiteY45" fmla="*/ 30397 h 345756"/>
              <a:gd name="connsiteX46" fmla="*/ 0 w 241400"/>
              <a:gd name="connsiteY46" fmla="*/ 70498 h 345756"/>
              <a:gd name="connsiteX47" fmla="*/ 0 w 241400"/>
              <a:gd name="connsiteY47" fmla="*/ 40101 h 345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41400" h="345756">
                <a:moveTo>
                  <a:pt x="241400" y="281835"/>
                </a:moveTo>
                <a:lnTo>
                  <a:pt x="241400" y="311912"/>
                </a:lnTo>
                <a:cubicBezTo>
                  <a:pt x="240758" y="313681"/>
                  <a:pt x="229057" y="333806"/>
                  <a:pt x="151992" y="333806"/>
                </a:cubicBezTo>
                <a:lnTo>
                  <a:pt x="89407" y="333806"/>
                </a:lnTo>
                <a:cubicBezTo>
                  <a:pt x="10361" y="334411"/>
                  <a:pt x="1505" y="344664"/>
                  <a:pt x="0" y="345756"/>
                </a:cubicBezTo>
                <a:lnTo>
                  <a:pt x="0" y="315680"/>
                </a:lnTo>
                <a:cubicBezTo>
                  <a:pt x="1505" y="314588"/>
                  <a:pt x="10361" y="304335"/>
                  <a:pt x="89407" y="303730"/>
                </a:cubicBezTo>
                <a:lnTo>
                  <a:pt x="151992" y="303730"/>
                </a:lnTo>
                <a:cubicBezTo>
                  <a:pt x="229057" y="303730"/>
                  <a:pt x="240758" y="283604"/>
                  <a:pt x="241400" y="281835"/>
                </a:cubicBezTo>
                <a:close/>
                <a:moveTo>
                  <a:pt x="241400" y="231708"/>
                </a:moveTo>
                <a:lnTo>
                  <a:pt x="241400" y="261785"/>
                </a:lnTo>
                <a:cubicBezTo>
                  <a:pt x="240758" y="263554"/>
                  <a:pt x="229057" y="283679"/>
                  <a:pt x="151992" y="283679"/>
                </a:cubicBezTo>
                <a:lnTo>
                  <a:pt x="89407" y="283679"/>
                </a:lnTo>
                <a:cubicBezTo>
                  <a:pt x="10361" y="284284"/>
                  <a:pt x="1505" y="294539"/>
                  <a:pt x="0" y="295631"/>
                </a:cubicBezTo>
                <a:lnTo>
                  <a:pt x="0" y="265553"/>
                </a:lnTo>
                <a:cubicBezTo>
                  <a:pt x="1505" y="264461"/>
                  <a:pt x="10361" y="254208"/>
                  <a:pt x="89407" y="253603"/>
                </a:cubicBezTo>
                <a:lnTo>
                  <a:pt x="151992" y="253603"/>
                </a:lnTo>
                <a:cubicBezTo>
                  <a:pt x="229057" y="253603"/>
                  <a:pt x="240758" y="233478"/>
                  <a:pt x="241400" y="231708"/>
                </a:cubicBezTo>
                <a:close/>
                <a:moveTo>
                  <a:pt x="208972" y="129529"/>
                </a:moveTo>
                <a:lnTo>
                  <a:pt x="241399" y="129529"/>
                </a:lnTo>
                <a:lnTo>
                  <a:pt x="241399" y="211987"/>
                </a:lnTo>
                <a:cubicBezTo>
                  <a:pt x="240971" y="213169"/>
                  <a:pt x="235558" y="222563"/>
                  <a:pt x="208972" y="228655"/>
                </a:cubicBezTo>
                <a:close/>
                <a:moveTo>
                  <a:pt x="139314" y="129529"/>
                </a:moveTo>
                <a:lnTo>
                  <a:pt x="171742" y="129529"/>
                </a:lnTo>
                <a:lnTo>
                  <a:pt x="171742" y="234032"/>
                </a:lnTo>
                <a:lnTo>
                  <a:pt x="139314" y="234032"/>
                </a:lnTo>
                <a:lnTo>
                  <a:pt x="139314" y="184360"/>
                </a:lnTo>
                <a:close/>
                <a:moveTo>
                  <a:pt x="69657" y="129529"/>
                </a:moveTo>
                <a:lnTo>
                  <a:pt x="102085" y="129529"/>
                </a:lnTo>
                <a:lnTo>
                  <a:pt x="102085" y="234032"/>
                </a:lnTo>
                <a:lnTo>
                  <a:pt x="69657" y="234032"/>
                </a:lnTo>
                <a:lnTo>
                  <a:pt x="69657" y="184360"/>
                </a:lnTo>
                <a:close/>
                <a:moveTo>
                  <a:pt x="0" y="129529"/>
                </a:moveTo>
                <a:lnTo>
                  <a:pt x="32428" y="129529"/>
                </a:lnTo>
                <a:lnTo>
                  <a:pt x="32428" y="234032"/>
                </a:lnTo>
                <a:lnTo>
                  <a:pt x="0" y="234032"/>
                </a:lnTo>
                <a:lnTo>
                  <a:pt x="0" y="184360"/>
                </a:lnTo>
                <a:close/>
                <a:moveTo>
                  <a:pt x="0" y="80523"/>
                </a:moveTo>
                <a:lnTo>
                  <a:pt x="241400" y="80523"/>
                </a:lnTo>
                <a:lnTo>
                  <a:pt x="241400" y="109957"/>
                </a:lnTo>
                <a:lnTo>
                  <a:pt x="120700" y="109957"/>
                </a:lnTo>
                <a:lnTo>
                  <a:pt x="0" y="109957"/>
                </a:lnTo>
                <a:close/>
                <a:moveTo>
                  <a:pt x="120700" y="0"/>
                </a:moveTo>
                <a:lnTo>
                  <a:pt x="241400" y="40101"/>
                </a:lnTo>
                <a:lnTo>
                  <a:pt x="241400" y="70498"/>
                </a:lnTo>
                <a:lnTo>
                  <a:pt x="120700" y="30397"/>
                </a:lnTo>
                <a:lnTo>
                  <a:pt x="0" y="70498"/>
                </a:lnTo>
                <a:lnTo>
                  <a:pt x="0" y="40101"/>
                </a:lnTo>
                <a:close/>
              </a:path>
            </a:pathLst>
          </a:custGeom>
          <a:solidFill>
            <a:srgbClr val="009CA6"/>
          </a:solidFill>
          <a:ln w="17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2481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  <p:sldLayoutId id="2147483834" r:id="rId10"/>
    <p:sldLayoutId id="2147483835" r:id="rId11"/>
    <p:sldLayoutId id="2147483836" r:id="rId12"/>
    <p:sldLayoutId id="2147483837" r:id="rId13"/>
    <p:sldLayoutId id="2147483838" r:id="rId14"/>
    <p:sldLayoutId id="2147483839" r:id="rId15"/>
    <p:sldLayoutId id="2147483840" r:id="rId16"/>
    <p:sldLayoutId id="2147483841" r:id="rId17"/>
    <p:sldLayoutId id="2147483843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1963" indent="-228600" algn="l" defTabSz="914400" rtl="0" eaLnBrk="1" latinLnBrk="0" hangingPunct="1">
        <a:lnSpc>
          <a:spcPct val="100000"/>
        </a:lnSpc>
        <a:spcBef>
          <a:spcPts val="0"/>
        </a:spcBef>
        <a:buSzPct val="95000"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8975" indent="-220663" algn="l" defTabSz="914400" rtl="0" eaLnBrk="1" latinLnBrk="0" hangingPunct="1">
        <a:lnSpc>
          <a:spcPct val="100000"/>
        </a:lnSpc>
        <a:spcBef>
          <a:spcPts val="0"/>
        </a:spcBef>
        <a:buFont typeface="Calibri" panose="020F0502020204030204" pitchFamily="34" charset="0"/>
        <a:buChar char="‒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7575" indent="-233363" algn="l" defTabSz="914400" rtl="0" eaLnBrk="1" latinLnBrk="0" hangingPunct="1">
        <a:lnSpc>
          <a:spcPct val="100000"/>
        </a:lnSpc>
        <a:spcBef>
          <a:spcPts val="0"/>
        </a:spcBef>
        <a:buSzPct val="80000"/>
        <a:buFont typeface="Wingdings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6175" indent="-234950" algn="l" defTabSz="914400" rtl="0" eaLnBrk="1" latinLnBrk="0" hangingPunct="1">
        <a:lnSpc>
          <a:spcPct val="100000"/>
        </a:lnSpc>
        <a:spcBef>
          <a:spcPts val="0"/>
        </a:spcBef>
        <a:buSzPct val="90000"/>
        <a:buFont typeface="System Font Regular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7">
          <p15:clr>
            <a:srgbClr val="F26B43"/>
          </p15:clr>
        </p15:guide>
        <p15:guide id="2" pos="401">
          <p15:clr>
            <a:srgbClr val="F26B43"/>
          </p15:clr>
        </p15:guide>
        <p15:guide id="3" pos="7274">
          <p15:clr>
            <a:srgbClr val="F26B43"/>
          </p15:clr>
        </p15:guide>
        <p15:guide id="4" orient="horz" pos="938">
          <p15:clr>
            <a:srgbClr val="F26B43"/>
          </p15:clr>
        </p15:guide>
        <p15:guide id="5" orient="horz" pos="1082">
          <p15:clr>
            <a:srgbClr val="F26B43"/>
          </p15:clr>
        </p15:guide>
        <p15:guide id="6" orient="horz" pos="3619">
          <p15:clr>
            <a:srgbClr val="F26B43"/>
          </p15:clr>
        </p15:guide>
        <p15:guide id="7" orient="horz" pos="4084">
          <p15:clr>
            <a:srgbClr val="F26B43"/>
          </p15:clr>
        </p15:guide>
        <p15:guide id="8" orient="horz" pos="385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EC3F0E8-5060-4F70-B155-33DA4A7796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D89A85-36BF-4006-ACE5-6DC1BB2019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981222-41C1-4F33-9157-A37D064E1C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3E8233-3406-4DA4-B1A7-0D1EF51F0BDA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D9C2CC-DAF0-4DD1-843E-B752D56ABC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E80048-1D04-4B59-9250-ECE346A763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91C937-4A66-4F34-97D6-A399595905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6519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8036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1248" y="6105571"/>
            <a:ext cx="927835" cy="557439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5847728"/>
            <a:ext cx="12192000" cy="98233"/>
          </a:xfrm>
          <a:prstGeom prst="rect">
            <a:avLst/>
          </a:prstGeom>
          <a:solidFill>
            <a:srgbClr val="80B63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9" name="Picture 8" descr="HMS_Affiliate_NEW_8.pn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0194" y="6214456"/>
            <a:ext cx="2612207" cy="339668"/>
          </a:xfrm>
          <a:prstGeom prst="rect">
            <a:avLst/>
          </a:prstGeom>
        </p:spPr>
      </p:pic>
      <p:pic>
        <p:nvPicPr>
          <p:cNvPr id="10" name="Picture 9" descr="BH_BWH.png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1" y="6117167"/>
            <a:ext cx="2710537" cy="584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573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445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128535"/>
            <a:ext cx="10515600" cy="49531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3197" y="6262962"/>
            <a:ext cx="801763" cy="481695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 flipV="1">
            <a:off x="0" y="6136461"/>
            <a:ext cx="12192000" cy="45719"/>
          </a:xfrm>
          <a:prstGeom prst="rect">
            <a:avLst/>
          </a:prstGeom>
          <a:solidFill>
            <a:srgbClr val="80B63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9" name="Picture 8" descr="HMS_Affiliate_NEW_8.pn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6799" y="6396314"/>
            <a:ext cx="2257268" cy="293515"/>
          </a:xfrm>
          <a:prstGeom prst="rect">
            <a:avLst/>
          </a:prstGeom>
        </p:spPr>
      </p:pic>
      <p:pic>
        <p:nvPicPr>
          <p:cNvPr id="10" name="Picture 9" descr="BH_BWH.png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1" y="6273156"/>
            <a:ext cx="2164436" cy="466925"/>
          </a:xfrm>
          <a:prstGeom prst="rect">
            <a:avLst/>
          </a:prstGeom>
        </p:spPr>
      </p:pic>
      <p:pic>
        <p:nvPicPr>
          <p:cNvPr id="11" name="Picture 10" descr="PHS_K.jpg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0306" y="6376658"/>
            <a:ext cx="2128573" cy="255608"/>
          </a:xfrm>
          <a:prstGeom prst="rect">
            <a:avLst/>
          </a:prstGeom>
        </p:spPr>
      </p:pic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>
            <a:lvl1pPr algn="r">
              <a:defRPr sz="1200" b="1"/>
            </a:lvl1pPr>
          </a:lstStyle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21C6066-B66E-4152-8E47-0534A2B2A85F}"/>
              </a:ext>
            </a:extLst>
          </p:cNvPr>
          <p:cNvSpPr txBox="1"/>
          <p:nvPr userDrawn="1"/>
        </p:nvSpPr>
        <p:spPr>
          <a:xfrm>
            <a:off x="-8038" y="6689828"/>
            <a:ext cx="205537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/>
              <a:t>Developed by Strategy Implementation, APSI</a:t>
            </a:r>
          </a:p>
        </p:txBody>
      </p:sp>
    </p:spTree>
    <p:extLst>
      <p:ext uri="{BB962C8B-B14F-4D97-AF65-F5344CB8AC3E}">
        <p14:creationId xmlns:p14="http://schemas.microsoft.com/office/powerpoint/2010/main" val="2407297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89451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35501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3BCC1D-D3C6-4286-988C-4F8BBCBCCA96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F63280E-1286-C14C-88B6-1BCEFBE122EC}"/>
              </a:ext>
            </a:extLst>
          </p:cNvPr>
          <p:cNvSpPr/>
          <p:nvPr userDrawn="1"/>
        </p:nvSpPr>
        <p:spPr>
          <a:xfrm>
            <a:off x="407494" y="6025390"/>
            <a:ext cx="11784505" cy="842181"/>
          </a:xfrm>
          <a:prstGeom prst="rect">
            <a:avLst/>
          </a:prstGeom>
          <a:solidFill>
            <a:srgbClr val="F1E0C1">
              <a:alpha val="7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3" name="Picture 12" descr="HMS_Affiliate_NEW_8.png">
            <a:extLst>
              <a:ext uri="{FF2B5EF4-FFF2-40B4-BE49-F238E27FC236}">
                <a16:creationId xmlns:a16="http://schemas.microsoft.com/office/drawing/2014/main" id="{24FEA5AB-E319-F94C-9C5F-88D05008EE93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7527" y="6285042"/>
            <a:ext cx="2740815" cy="35639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FD8A2946-B9CF-0B4A-9637-B340FA49D071}"/>
              </a:ext>
            </a:extLst>
          </p:cNvPr>
          <p:cNvSpPr/>
          <p:nvPr userDrawn="1"/>
        </p:nvSpPr>
        <p:spPr>
          <a:xfrm>
            <a:off x="1" y="6025388"/>
            <a:ext cx="407495" cy="842182"/>
          </a:xfrm>
          <a:prstGeom prst="rect">
            <a:avLst/>
          </a:prstGeom>
          <a:solidFill>
            <a:srgbClr val="003DA6">
              <a:alpha val="76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5" name="Picture 14" descr="BH_BWH.png">
            <a:extLst>
              <a:ext uri="{FF2B5EF4-FFF2-40B4-BE49-F238E27FC236}">
                <a16:creationId xmlns:a16="http://schemas.microsoft.com/office/drawing/2014/main" id="{61304A8D-2067-6B4B-80B8-4D7392614C0B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564" y="6198104"/>
            <a:ext cx="2330009" cy="50264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A43B6CD-6744-304E-9604-5FED79F8D7E3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8488956" y="6247491"/>
            <a:ext cx="3283944" cy="39394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7738" y="6267997"/>
            <a:ext cx="687740" cy="413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185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445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128535"/>
            <a:ext cx="10515600" cy="49531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 flipV="1">
            <a:off x="0" y="6136461"/>
            <a:ext cx="12192000" cy="45719"/>
          </a:xfrm>
          <a:prstGeom prst="rect">
            <a:avLst/>
          </a:prstGeom>
          <a:solidFill>
            <a:srgbClr val="80B63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" name="Picture 9" descr="BH_BWH.png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1" y="6273156"/>
            <a:ext cx="2164436" cy="466925"/>
          </a:xfrm>
          <a:prstGeom prst="rect">
            <a:avLst/>
          </a:prstGeom>
        </p:spPr>
      </p:pic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41100" y="6356351"/>
            <a:ext cx="749301" cy="365125"/>
          </a:xfrm>
          <a:prstGeom prst="rect">
            <a:avLst/>
          </a:prstGeom>
        </p:spPr>
        <p:txBody>
          <a:bodyPr/>
          <a:lstStyle>
            <a:lvl1pPr algn="r">
              <a:defRPr sz="1200" b="1"/>
            </a:lvl1pPr>
          </a:lstStyle>
          <a:p>
            <a:fld id="{1525C0F7-8877-4DF7-9DDC-7358225ABBA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63939DB-AE77-4CEA-ADCD-0019C9BDAA66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8922327" y="6241647"/>
            <a:ext cx="2706707" cy="474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926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  <p:sldLayoutId id="2147483748" r:id="rId12"/>
    <p:sldLayoutId id="2147483749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94254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403047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5959321"/>
            <a:ext cx="12225107" cy="66426"/>
          </a:xfrm>
          <a:prstGeom prst="rect">
            <a:avLst/>
          </a:prstGeom>
          <a:solidFill>
            <a:srgbClr val="003D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u="sng">
              <a:solidFill>
                <a:srgbClr val="003DA6"/>
              </a:solidFill>
            </a:endParaRPr>
          </a:p>
        </p:txBody>
      </p:sp>
      <p:pic>
        <p:nvPicPr>
          <p:cNvPr id="7" name="Picture 6" descr="HMS_Affiliate_NEW_8.png">
            <a:extLst>
              <a:ext uri="{FF2B5EF4-FFF2-40B4-BE49-F238E27FC236}">
                <a16:creationId xmlns:a16="http://schemas.microsoft.com/office/drawing/2014/main" id="{759A187A-127A-4C49-A0CA-9ED25B75C55E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6469" y="6211374"/>
            <a:ext cx="2900545" cy="377161"/>
          </a:xfrm>
          <a:prstGeom prst="rect">
            <a:avLst/>
          </a:prstGeom>
        </p:spPr>
      </p:pic>
      <p:pic>
        <p:nvPicPr>
          <p:cNvPr id="8" name="Picture 7" descr="BH_BWH.png">
            <a:extLst>
              <a:ext uri="{FF2B5EF4-FFF2-40B4-BE49-F238E27FC236}">
                <a16:creationId xmlns:a16="http://schemas.microsoft.com/office/drawing/2014/main" id="{768BCC3C-B5DA-F441-9156-824E21E81880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987" y="6131511"/>
            <a:ext cx="2600768" cy="561053"/>
          </a:xfrm>
          <a:prstGeom prst="rect">
            <a:avLst/>
          </a:prstGeom>
        </p:spPr>
      </p:pic>
      <p:pic>
        <p:nvPicPr>
          <p:cNvPr id="10" name="Picture 9" descr="A picture containing plate, drawing&#10;&#10;Description automatically generated">
            <a:extLst>
              <a:ext uri="{FF2B5EF4-FFF2-40B4-BE49-F238E27FC236}">
                <a16:creationId xmlns:a16="http://schemas.microsoft.com/office/drawing/2014/main" id="{A63856C8-81C4-46D1-9B19-27A43ECF1FA8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20" y="6222775"/>
            <a:ext cx="2194560" cy="404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9490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89451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35501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3BCC1D-D3C6-4286-988C-4F8BBCBCCA96}" type="datetimeFigureOut">
              <a:rPr lang="en-US" smtClean="0"/>
              <a:t>7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08D9EF-FF85-4EC4-81D5-B994CAB412E7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F63280E-1286-C14C-88B6-1BCEFBE122EC}"/>
              </a:ext>
            </a:extLst>
          </p:cNvPr>
          <p:cNvSpPr/>
          <p:nvPr userDrawn="1"/>
        </p:nvSpPr>
        <p:spPr>
          <a:xfrm>
            <a:off x="407494" y="6025390"/>
            <a:ext cx="11784505" cy="842181"/>
          </a:xfrm>
          <a:prstGeom prst="rect">
            <a:avLst/>
          </a:prstGeom>
          <a:solidFill>
            <a:srgbClr val="F1E0C1">
              <a:alpha val="7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3" name="Picture 12" descr="HMS_Affiliate_NEW_8.png">
            <a:extLst>
              <a:ext uri="{FF2B5EF4-FFF2-40B4-BE49-F238E27FC236}">
                <a16:creationId xmlns:a16="http://schemas.microsoft.com/office/drawing/2014/main" id="{24FEA5AB-E319-F94C-9C5F-88D05008EE93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7527" y="6285042"/>
            <a:ext cx="2740815" cy="35639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FD8A2946-B9CF-0B4A-9637-B340FA49D071}"/>
              </a:ext>
            </a:extLst>
          </p:cNvPr>
          <p:cNvSpPr/>
          <p:nvPr userDrawn="1"/>
        </p:nvSpPr>
        <p:spPr>
          <a:xfrm>
            <a:off x="1" y="6025388"/>
            <a:ext cx="407495" cy="842182"/>
          </a:xfrm>
          <a:prstGeom prst="rect">
            <a:avLst/>
          </a:prstGeom>
          <a:solidFill>
            <a:srgbClr val="003DA6">
              <a:alpha val="76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5" name="Picture 14" descr="BH_BWH.png">
            <a:extLst>
              <a:ext uri="{FF2B5EF4-FFF2-40B4-BE49-F238E27FC236}">
                <a16:creationId xmlns:a16="http://schemas.microsoft.com/office/drawing/2014/main" id="{61304A8D-2067-6B4B-80B8-4D7392614C0B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564" y="6198104"/>
            <a:ext cx="2330009" cy="50264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A43B6CD-6744-304E-9604-5FED79F8D7E3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8488956" y="6247491"/>
            <a:ext cx="3283944" cy="39394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7738" y="6267997"/>
            <a:ext cx="687740" cy="413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5774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9.xml"/><Relationship Id="rId4" Type="http://schemas.openxmlformats.org/officeDocument/2006/relationships/image" Target="../media/image34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9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9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9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9.xml"/><Relationship Id="rId4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9.xml"/><Relationship Id="rId4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9.xml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784A2DF-72A0-47E3-9DE8-E1ACC495F865}"/>
              </a:ext>
            </a:extLst>
          </p:cNvPr>
          <p:cNvSpPr txBox="1">
            <a:spLocks/>
          </p:cNvSpPr>
          <p:nvPr/>
        </p:nvSpPr>
        <p:spPr>
          <a:xfrm>
            <a:off x="990600" y="1911805"/>
            <a:ext cx="10227658" cy="280852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800" b="0" kern="1200" cap="none">
                <a:solidFill>
                  <a:srgbClr val="003DA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200" b="1">
                <a:cs typeface="Arial"/>
              </a:rPr>
              <a:t>Addressing Radiology Recommendations Collaboratively (ARRC)</a:t>
            </a:r>
          </a:p>
          <a:p>
            <a:endParaRPr lang="en-US" sz="2000" b="1">
              <a:latin typeface="+mn-lt"/>
              <a:cs typeface="Arial" panose="020B0604020202020204" pitchFamily="34" charset="0"/>
            </a:endParaRPr>
          </a:p>
          <a:p>
            <a:r>
              <a:rPr lang="en-US" sz="2800" b="1">
                <a:latin typeface="+mn-lt"/>
                <a:cs typeface="Arial" panose="020B0604020202020204" pitchFamily="34" charset="0"/>
              </a:rPr>
              <a:t>Ensuring timely performance when clinically necessary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3F51560-7193-4355-8C86-BE5D41C7C0F0}"/>
              </a:ext>
            </a:extLst>
          </p:cNvPr>
          <p:cNvSpPr txBox="1">
            <a:spLocks/>
          </p:cNvSpPr>
          <p:nvPr/>
        </p:nvSpPr>
        <p:spPr>
          <a:xfrm>
            <a:off x="987992" y="4935698"/>
            <a:ext cx="8644672" cy="54864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800" b="0" kern="1200" cap="none">
                <a:solidFill>
                  <a:srgbClr val="003DA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1">
                <a:latin typeface="+mn-lt"/>
                <a:cs typeface="Arial" panose="020B0604020202020204" pitchFamily="34" charset="0"/>
              </a:rPr>
              <a:t>Team Leads: </a:t>
            </a:r>
            <a:r>
              <a:rPr lang="en-US" sz="2000">
                <a:latin typeface="+mn-lt"/>
                <a:cs typeface="Arial" panose="020B0604020202020204" pitchFamily="34" charset="0"/>
              </a:rPr>
              <a:t>Neena Kapoor, MD; Sonali Desai, MD, MPH</a:t>
            </a:r>
          </a:p>
          <a:p>
            <a:r>
              <a:rPr lang="en-US" sz="2000" b="1">
                <a:latin typeface="+mn-lt"/>
                <a:cs typeface="Arial" panose="020B0604020202020204" pitchFamily="34" charset="0"/>
              </a:rPr>
              <a:t>Executive Sponsor: </a:t>
            </a:r>
            <a:r>
              <a:rPr lang="en-US" sz="2000">
                <a:latin typeface="+mn-lt"/>
                <a:cs typeface="Arial" panose="020B0604020202020204" pitchFamily="34" charset="0"/>
              </a:rPr>
              <a:t>Ramin Khorasani, MD, MPH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CC54396-97AB-409E-B850-2AE2619B0508}"/>
              </a:ext>
            </a:extLst>
          </p:cNvPr>
          <p:cNvSpPr txBox="1">
            <a:spLocks/>
          </p:cNvSpPr>
          <p:nvPr/>
        </p:nvSpPr>
        <p:spPr>
          <a:xfrm>
            <a:off x="985181" y="5684085"/>
            <a:ext cx="6939981" cy="43738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800" b="0" kern="1200" cap="none">
                <a:solidFill>
                  <a:srgbClr val="003DA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1" dirty="0">
                <a:latin typeface="+mn-lt"/>
                <a:cs typeface="Arial"/>
              </a:rPr>
              <a:t>Oversight Committee, July 12, 2023</a:t>
            </a:r>
            <a:endParaRPr lang="en-US" sz="2000" dirty="0">
              <a:latin typeface="+mn-l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019272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>
            <a:extLst>
              <a:ext uri="{FF2B5EF4-FFF2-40B4-BE49-F238E27FC236}">
                <a16:creationId xmlns:a16="http://schemas.microsoft.com/office/drawing/2014/main" id="{27C4593E-F331-4059-A2BA-5BC77797F351}"/>
              </a:ext>
            </a:extLst>
          </p:cNvPr>
          <p:cNvSpPr txBox="1">
            <a:spLocks/>
          </p:cNvSpPr>
          <p:nvPr/>
        </p:nvSpPr>
        <p:spPr>
          <a:xfrm>
            <a:off x="291313" y="16535"/>
            <a:ext cx="10042890" cy="7500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000">
                <a:solidFill>
                  <a:schemeClr val="accent2"/>
                </a:solidFill>
                <a:cs typeface="Arial"/>
              </a:rPr>
              <a:t>Alert Status Updat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F978A67-353B-4C2D-80DA-3A47F2FB7342}"/>
              </a:ext>
            </a:extLst>
          </p:cNvPr>
          <p:cNvSpPr txBox="1"/>
          <p:nvPr/>
        </p:nvSpPr>
        <p:spPr>
          <a:xfrm>
            <a:off x="10400145" y="3295561"/>
            <a:ext cx="835891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pic>
        <p:nvPicPr>
          <p:cNvPr id="11" name="Picture 14" descr="Text&#10;&#10;Description automatically generated">
            <a:extLst>
              <a:ext uri="{FF2B5EF4-FFF2-40B4-BE49-F238E27FC236}">
                <a16:creationId xmlns:a16="http://schemas.microsoft.com/office/drawing/2014/main" id="{211ABE33-8462-D5EC-65E7-7A502E58DB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92857" y="3099568"/>
            <a:ext cx="1743075" cy="962025"/>
          </a:xfrm>
          <a:prstGeom prst="rect">
            <a:avLst/>
          </a:prstGeom>
        </p:spPr>
      </p:pic>
      <p:pic>
        <p:nvPicPr>
          <p:cNvPr id="3" name="Picture 3" descr="A green and red graph&#10;&#10;Description automatically generated">
            <a:extLst>
              <a:ext uri="{FF2B5EF4-FFF2-40B4-BE49-F238E27FC236}">
                <a16:creationId xmlns:a16="http://schemas.microsoft.com/office/drawing/2014/main" id="{EE2EFD8E-883B-B242-ACD9-B37D3F1E2B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02177" y="759024"/>
            <a:ext cx="5979347" cy="5885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8625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18528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206FA14-07A6-4D4F-8AD6-A1AE43D08C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2702617"/>
              </p:ext>
            </p:extLst>
          </p:nvPr>
        </p:nvGraphicFramePr>
        <p:xfrm>
          <a:off x="1075392" y="1814837"/>
          <a:ext cx="10731597" cy="244075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31597">
                  <a:extLst>
                    <a:ext uri="{9D8B030D-6E8A-4147-A177-3AD203B41FA5}">
                      <a16:colId xmlns:a16="http://schemas.microsoft.com/office/drawing/2014/main" val="1442763237"/>
                    </a:ext>
                  </a:extLst>
                </a:gridCol>
              </a:tblGrid>
              <a:tr h="611954"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ARRC Oversight Committee – 07/12/2023</a:t>
                      </a:r>
                      <a:endParaRPr lang="en-US" sz="2400" dirty="0">
                        <a:solidFill>
                          <a:schemeClr val="tx1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45988358"/>
                  </a:ext>
                </a:extLst>
              </a:tr>
              <a:tr h="345887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US" sz="2400" b="1">
                          <a:solidFill>
                            <a:schemeClr val="bg1"/>
                          </a:solidFill>
                          <a:latin typeface="+mn-lt"/>
                          <a:cs typeface="Arial"/>
                        </a:rPr>
                        <a:t>Content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D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1054803"/>
                  </a:ext>
                </a:extLst>
              </a:tr>
              <a:tr h="345887"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1" i="0" u="none" strike="noStrike" noProof="0">
                          <a:solidFill>
                            <a:schemeClr val="tx1"/>
                          </a:solidFill>
                          <a:latin typeface="Calibri"/>
                        </a:rPr>
                        <a:t>Cumulative Metric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30256176"/>
                  </a:ext>
                </a:extLst>
              </a:tr>
              <a:tr h="345887"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1" i="0" u="none" strike="noStrike" noProof="0">
                          <a:solidFill>
                            <a:schemeClr val="tx1"/>
                          </a:solidFill>
                          <a:latin typeface="Calibri"/>
                        </a:rPr>
                        <a:t>Previous Month Summary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80481339"/>
                  </a:ext>
                </a:extLst>
              </a:tr>
              <a:tr h="345887"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1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Alert Status Update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221575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357900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>
            <a:extLst>
              <a:ext uri="{FF2B5EF4-FFF2-40B4-BE49-F238E27FC236}">
                <a16:creationId xmlns:a16="http://schemas.microsoft.com/office/drawing/2014/main" id="{F3E422A3-0917-41A4-9778-A3110B2D9E31}"/>
              </a:ext>
            </a:extLst>
          </p:cNvPr>
          <p:cNvSpPr txBox="1">
            <a:spLocks/>
          </p:cNvSpPr>
          <p:nvPr/>
        </p:nvSpPr>
        <p:spPr>
          <a:xfrm>
            <a:off x="291313" y="16535"/>
            <a:ext cx="10042890" cy="7500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000">
                <a:solidFill>
                  <a:schemeClr val="accent2"/>
                </a:solidFill>
                <a:cs typeface="Arial"/>
              </a:rPr>
              <a:t>Cumulative Metrics</a:t>
            </a:r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68DB6AAD-BA51-4CF7-E306-1282E47451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34203" y="852365"/>
            <a:ext cx="1562100" cy="2228850"/>
          </a:xfrm>
          <a:prstGeom prst="rect">
            <a:avLst/>
          </a:prstGeom>
        </p:spPr>
      </p:pic>
      <p:pic>
        <p:nvPicPr>
          <p:cNvPr id="6" name="Picture 7" descr="A graph of different colored bars&#10;&#10;Description automatically generated">
            <a:extLst>
              <a:ext uri="{FF2B5EF4-FFF2-40B4-BE49-F238E27FC236}">
                <a16:creationId xmlns:a16="http://schemas.microsoft.com/office/drawing/2014/main" id="{46EFBC97-AD75-62F5-BA8C-18B893FBE2F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15437" y="618057"/>
            <a:ext cx="8472310" cy="6186330"/>
          </a:xfrm>
          <a:prstGeom prst="rect">
            <a:avLst/>
          </a:prstGeom>
        </p:spPr>
      </p:pic>
      <p:pic>
        <p:nvPicPr>
          <p:cNvPr id="8" name="Picture 8" descr="A black text with black text&#10;&#10;Description automatically generated">
            <a:extLst>
              <a:ext uri="{FF2B5EF4-FFF2-40B4-BE49-F238E27FC236}">
                <a16:creationId xmlns:a16="http://schemas.microsoft.com/office/drawing/2014/main" id="{DB3B2047-D274-0E0F-B5D3-F5768268DB7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49881" y="759023"/>
            <a:ext cx="4530607" cy="363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938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3">
            <a:extLst>
              <a:ext uri="{FF2B5EF4-FFF2-40B4-BE49-F238E27FC236}">
                <a16:creationId xmlns:a16="http://schemas.microsoft.com/office/drawing/2014/main" id="{1E6AA1DC-C98A-4ABF-99EB-3DF6B5F78A7D}"/>
              </a:ext>
            </a:extLst>
          </p:cNvPr>
          <p:cNvSpPr txBox="1">
            <a:spLocks/>
          </p:cNvSpPr>
          <p:nvPr/>
        </p:nvSpPr>
        <p:spPr>
          <a:xfrm>
            <a:off x="291313" y="16535"/>
            <a:ext cx="10042890" cy="7500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000">
                <a:solidFill>
                  <a:schemeClr val="accent2"/>
                </a:solidFill>
                <a:cs typeface="Arial"/>
              </a:rPr>
              <a:t>Cumulative Metrics</a:t>
            </a:r>
          </a:p>
        </p:txBody>
      </p:sp>
      <p:pic>
        <p:nvPicPr>
          <p:cNvPr id="5" name="Picture 6" descr="Text&#10;&#10;Description automatically generated">
            <a:extLst>
              <a:ext uri="{FF2B5EF4-FFF2-40B4-BE49-F238E27FC236}">
                <a16:creationId xmlns:a16="http://schemas.microsoft.com/office/drawing/2014/main" id="{98944371-2B86-3166-7841-CBFB88B13E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7012" y="4885294"/>
            <a:ext cx="2209800" cy="600075"/>
          </a:xfrm>
          <a:prstGeom prst="rect">
            <a:avLst/>
          </a:prstGeom>
        </p:spPr>
      </p:pic>
      <p:pic>
        <p:nvPicPr>
          <p:cNvPr id="3" name="Picture 3" descr="A blue and pink pie chart&#10;&#10;Description automatically generated">
            <a:extLst>
              <a:ext uri="{FF2B5EF4-FFF2-40B4-BE49-F238E27FC236}">
                <a16:creationId xmlns:a16="http://schemas.microsoft.com/office/drawing/2014/main" id="{B22AD03B-8D1B-29E3-7DAB-92C6C45AD8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2622" y="1646258"/>
            <a:ext cx="3138310" cy="3010449"/>
          </a:xfrm>
          <a:prstGeom prst="rect">
            <a:avLst/>
          </a:prstGeom>
        </p:spPr>
      </p:pic>
      <p:pic>
        <p:nvPicPr>
          <p:cNvPr id="4" name="Picture 9" descr="A close up of numbers&#10;&#10;Description automatically generated">
            <a:extLst>
              <a:ext uri="{FF2B5EF4-FFF2-40B4-BE49-F238E27FC236}">
                <a16:creationId xmlns:a16="http://schemas.microsoft.com/office/drawing/2014/main" id="{6EBD0126-73F2-2550-65C3-4AFCDD97674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5141" y="992744"/>
            <a:ext cx="4191940" cy="281699"/>
          </a:xfrm>
          <a:prstGeom prst="rect">
            <a:avLst/>
          </a:prstGeom>
        </p:spPr>
      </p:pic>
      <p:pic>
        <p:nvPicPr>
          <p:cNvPr id="10" name="Picture 11" descr="A graph of blue and pink bars&#10;&#10;Description automatically generated">
            <a:extLst>
              <a:ext uri="{FF2B5EF4-FFF2-40B4-BE49-F238E27FC236}">
                <a16:creationId xmlns:a16="http://schemas.microsoft.com/office/drawing/2014/main" id="{F317D1D2-89F1-7B14-1043-470AF94C7A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84326" y="1384973"/>
            <a:ext cx="6957718" cy="4492572"/>
          </a:xfrm>
          <a:prstGeom prst="rect">
            <a:avLst/>
          </a:prstGeom>
        </p:spPr>
      </p:pic>
      <p:pic>
        <p:nvPicPr>
          <p:cNvPr id="12" name="Picture 12" descr="A number with black text&#10;&#10;Description automatically generated">
            <a:extLst>
              <a:ext uri="{FF2B5EF4-FFF2-40B4-BE49-F238E27FC236}">
                <a16:creationId xmlns:a16="http://schemas.microsoft.com/office/drawing/2014/main" id="{796BCDB9-A303-4366-DE92-F9933243035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42474" y="922523"/>
            <a:ext cx="4709348" cy="337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1676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3">
            <a:extLst>
              <a:ext uri="{FF2B5EF4-FFF2-40B4-BE49-F238E27FC236}">
                <a16:creationId xmlns:a16="http://schemas.microsoft.com/office/drawing/2014/main" id="{CC47E83E-7D08-46B2-BF28-4D5BDF6C3A3B}"/>
              </a:ext>
            </a:extLst>
          </p:cNvPr>
          <p:cNvSpPr txBox="1">
            <a:spLocks/>
          </p:cNvSpPr>
          <p:nvPr/>
        </p:nvSpPr>
        <p:spPr>
          <a:xfrm>
            <a:off x="291313" y="16535"/>
            <a:ext cx="10042890" cy="7500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000">
                <a:solidFill>
                  <a:schemeClr val="accent2"/>
                </a:solidFill>
                <a:cs typeface="Arial"/>
              </a:rPr>
              <a:t>Cumulative Metric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2BCBC07-2892-4A55-989E-54731CE76E4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0860" t="17818" b="64762"/>
          <a:stretch/>
        </p:blipFill>
        <p:spPr>
          <a:xfrm>
            <a:off x="1358681" y="4936174"/>
            <a:ext cx="1962357" cy="85622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CFF6368-DC90-4FBD-9F18-35E51579F3F2}"/>
              </a:ext>
            </a:extLst>
          </p:cNvPr>
          <p:cNvSpPr txBox="1"/>
          <p:nvPr/>
        </p:nvSpPr>
        <p:spPr>
          <a:xfrm>
            <a:off x="2153552" y="4751508"/>
            <a:ext cx="634337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pic>
        <p:nvPicPr>
          <p:cNvPr id="5" name="Picture 5" descr="A green and red pie chart&#10;&#10;Description automatically generated">
            <a:extLst>
              <a:ext uri="{FF2B5EF4-FFF2-40B4-BE49-F238E27FC236}">
                <a16:creationId xmlns:a16="http://schemas.microsoft.com/office/drawing/2014/main" id="{18723FBD-5896-D341-0BC8-295333A902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1512" y="1540374"/>
            <a:ext cx="3072459" cy="3400957"/>
          </a:xfrm>
          <a:prstGeom prst="rect">
            <a:avLst/>
          </a:prstGeom>
        </p:spPr>
      </p:pic>
      <p:pic>
        <p:nvPicPr>
          <p:cNvPr id="6" name="Picture 11" descr="A close up of numbers&#10;&#10;Description automatically generated">
            <a:extLst>
              <a:ext uri="{FF2B5EF4-FFF2-40B4-BE49-F238E27FC236}">
                <a16:creationId xmlns:a16="http://schemas.microsoft.com/office/drawing/2014/main" id="{A02606FF-24CF-E039-596A-E734CBD662F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5215" y="1085812"/>
            <a:ext cx="4088459" cy="302524"/>
          </a:xfrm>
          <a:prstGeom prst="rect">
            <a:avLst/>
          </a:prstGeom>
        </p:spPr>
      </p:pic>
      <p:pic>
        <p:nvPicPr>
          <p:cNvPr id="12" name="Picture 12" descr="A graph of a number of months&#10;&#10;Description automatically generated">
            <a:extLst>
              <a:ext uri="{FF2B5EF4-FFF2-40B4-BE49-F238E27FC236}">
                <a16:creationId xmlns:a16="http://schemas.microsoft.com/office/drawing/2014/main" id="{0F1301EA-BA62-807D-94C6-11F898CD91D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99659" y="1429611"/>
            <a:ext cx="6985940" cy="4666703"/>
          </a:xfrm>
          <a:prstGeom prst="rect">
            <a:avLst/>
          </a:prstGeom>
        </p:spPr>
      </p:pic>
      <p:pic>
        <p:nvPicPr>
          <p:cNvPr id="13" name="Picture 13" descr="A close up of a number&#10;&#10;Description automatically generated">
            <a:extLst>
              <a:ext uri="{FF2B5EF4-FFF2-40B4-BE49-F238E27FC236}">
                <a16:creationId xmlns:a16="http://schemas.microsoft.com/office/drawing/2014/main" id="{33BB7E97-0EEA-F2B3-2866-57BB94CE6DB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60252" y="1068081"/>
            <a:ext cx="4869274" cy="356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0933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>
            <a:extLst>
              <a:ext uri="{FF2B5EF4-FFF2-40B4-BE49-F238E27FC236}">
                <a16:creationId xmlns:a16="http://schemas.microsoft.com/office/drawing/2014/main" id="{27C4593E-F331-4059-A2BA-5BC77797F351}"/>
              </a:ext>
            </a:extLst>
          </p:cNvPr>
          <p:cNvSpPr txBox="1">
            <a:spLocks/>
          </p:cNvSpPr>
          <p:nvPr/>
        </p:nvSpPr>
        <p:spPr>
          <a:xfrm>
            <a:off x="291313" y="16535"/>
            <a:ext cx="10042890" cy="7500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000">
                <a:solidFill>
                  <a:schemeClr val="accent2"/>
                </a:solidFill>
                <a:cs typeface="Arial"/>
              </a:rPr>
              <a:t>Cumulative Metrics</a:t>
            </a:r>
          </a:p>
        </p:txBody>
      </p:sp>
      <p:pic>
        <p:nvPicPr>
          <p:cNvPr id="6" name="Picture 6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83C38985-DD16-CB16-3F93-A251FF0631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48153" y="2943224"/>
            <a:ext cx="2686050" cy="971550"/>
          </a:xfrm>
          <a:prstGeom prst="rect">
            <a:avLst/>
          </a:prstGeom>
        </p:spPr>
      </p:pic>
      <p:pic>
        <p:nvPicPr>
          <p:cNvPr id="3" name="Picture 4" descr="A pie chart with numbers and a diagram&#10;&#10;Description automatically generated">
            <a:extLst>
              <a:ext uri="{FF2B5EF4-FFF2-40B4-BE49-F238E27FC236}">
                <a16:creationId xmlns:a16="http://schemas.microsoft.com/office/drawing/2014/main" id="{724BDE10-5998-DA05-F432-98B84AEE76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28327" y="937567"/>
            <a:ext cx="4765792" cy="4982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6612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>
            <a:extLst>
              <a:ext uri="{FF2B5EF4-FFF2-40B4-BE49-F238E27FC236}">
                <a16:creationId xmlns:a16="http://schemas.microsoft.com/office/drawing/2014/main" id="{27C4593E-F331-4059-A2BA-5BC77797F351}"/>
              </a:ext>
            </a:extLst>
          </p:cNvPr>
          <p:cNvSpPr txBox="1">
            <a:spLocks/>
          </p:cNvSpPr>
          <p:nvPr/>
        </p:nvSpPr>
        <p:spPr>
          <a:xfrm>
            <a:off x="291313" y="16535"/>
            <a:ext cx="10042890" cy="7500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000">
                <a:solidFill>
                  <a:schemeClr val="accent2"/>
                </a:solidFill>
                <a:cs typeface="Arial"/>
              </a:rPr>
              <a:t>Cumulative Metric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F978A67-353B-4C2D-80DA-3A47F2FB7342}"/>
              </a:ext>
            </a:extLst>
          </p:cNvPr>
          <p:cNvSpPr txBox="1"/>
          <p:nvPr/>
        </p:nvSpPr>
        <p:spPr>
          <a:xfrm>
            <a:off x="10400145" y="3295561"/>
            <a:ext cx="835891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76DC0DEC-2A79-000C-DB69-3EE007F6BC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00145" y="3429000"/>
            <a:ext cx="1028700" cy="59055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BD2C04D-EDBE-4CF5-9E14-EF041F00A3CA}"/>
              </a:ext>
            </a:extLst>
          </p:cNvPr>
          <p:cNvSpPr txBox="1"/>
          <p:nvPr/>
        </p:nvSpPr>
        <p:spPr>
          <a:xfrm>
            <a:off x="10918867" y="3253570"/>
            <a:ext cx="634337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pic>
        <p:nvPicPr>
          <p:cNvPr id="5" name="Picture 9" descr="A graph of a safety net&#10;&#10;Description automatically generated">
            <a:extLst>
              <a:ext uri="{FF2B5EF4-FFF2-40B4-BE49-F238E27FC236}">
                <a16:creationId xmlns:a16="http://schemas.microsoft.com/office/drawing/2014/main" id="{4614CF8A-D5BA-F4E2-56CF-244CE9345E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54104" y="894801"/>
            <a:ext cx="7832607" cy="5557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2280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1FB5CC-EE33-4D67-A5D0-01136FFFBE11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291313" y="1065213"/>
            <a:ext cx="11561163" cy="5057795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231775" indent="-231775">
              <a:buFont typeface="Arial" panose="020B0604020202020204" pitchFamily="34" charset="0"/>
              <a:buChar char="•"/>
            </a:pPr>
            <a:r>
              <a:rPr lang="en-US" sz="2600" dirty="0">
                <a:cs typeface="Calibri"/>
              </a:rPr>
              <a:t>June 2023 ARRC alerts: </a:t>
            </a:r>
            <a:endParaRPr lang="en-US" sz="2600" dirty="0"/>
          </a:p>
          <a:p>
            <a:pPr marL="914400" lvl="1"/>
            <a:r>
              <a:rPr lang="en-US" sz="2600" dirty="0">
                <a:solidFill>
                  <a:srgbClr val="000000"/>
                </a:solidFill>
                <a:ea typeface="+mn-lt"/>
                <a:cs typeface="+mn-lt"/>
              </a:rPr>
              <a:t>1,179 ARRC</a:t>
            </a:r>
            <a:r>
              <a:rPr lang="en-US" sz="2600" dirty="0">
                <a:ea typeface="+mn-lt"/>
                <a:cs typeface="+mn-lt"/>
              </a:rPr>
              <a:t> alerts generated</a:t>
            </a:r>
          </a:p>
          <a:p>
            <a:pPr marL="1371600" lvl="3" indent="-223520">
              <a:buSzPct val="100000"/>
              <a:buFont typeface="Arial" panose="020B0604020202020204" pitchFamily="34" charset="0"/>
              <a:buChar char="•"/>
            </a:pPr>
            <a:r>
              <a:rPr lang="en-US" sz="2600" dirty="0">
                <a:ea typeface="+mn-lt"/>
                <a:cs typeface="+mn-lt"/>
              </a:rPr>
              <a:t>929 (79%) follow-up alerts acknowledged</a:t>
            </a:r>
          </a:p>
          <a:p>
            <a:pPr marL="2061845" lvl="5" indent="-233045">
              <a:buFont typeface="Wingdings" panose="05000000000000000000" pitchFamily="2" charset="2"/>
              <a:buChar char="§"/>
            </a:pPr>
            <a:r>
              <a:rPr lang="en-US" sz="2600" dirty="0">
                <a:ea typeface="+mn-lt"/>
                <a:cs typeface="+mn-lt"/>
              </a:rPr>
              <a:t>433 (47%) follow-up alerts sent directly to Brigham Radiology Care Coordination (minimized leakage)</a:t>
            </a:r>
          </a:p>
          <a:p>
            <a:pPr marL="1376045" lvl="2" indent="-231775">
              <a:buFont typeface="Arial" panose="020B0604020202020204" pitchFamily="34" charset="0"/>
              <a:buChar char="•"/>
            </a:pPr>
            <a:r>
              <a:rPr lang="en-US" sz="2600" dirty="0">
                <a:ea typeface="+mn-lt"/>
                <a:cs typeface="+mn-lt"/>
              </a:rPr>
              <a:t>0% disagreement from ordering providers</a:t>
            </a:r>
          </a:p>
          <a:p>
            <a:pPr marL="914400" lvl="1"/>
            <a:r>
              <a:rPr lang="en-US" sz="2600" dirty="0">
                <a:ea typeface="+mn-lt"/>
                <a:cs typeface="+mn-lt"/>
              </a:rPr>
              <a:t>555</a:t>
            </a:r>
            <a:r>
              <a:rPr lang="en-US" sz="2600" dirty="0">
                <a:solidFill>
                  <a:srgbClr val="FF0000"/>
                </a:solidFill>
                <a:ea typeface="+mn-lt"/>
                <a:cs typeface="+mn-lt"/>
              </a:rPr>
              <a:t> </a:t>
            </a:r>
            <a:r>
              <a:rPr lang="en-US" sz="2600" dirty="0">
                <a:ea typeface="+mn-lt"/>
                <a:cs typeface="+mn-lt"/>
              </a:rPr>
              <a:t>BI-RADS 3 recommendations generated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4E4DD4B4-CC3F-48FA-A5E5-6C65C346258D}"/>
              </a:ext>
            </a:extLst>
          </p:cNvPr>
          <p:cNvSpPr txBox="1">
            <a:spLocks/>
          </p:cNvSpPr>
          <p:nvPr/>
        </p:nvSpPr>
        <p:spPr>
          <a:xfrm>
            <a:off x="291313" y="16535"/>
            <a:ext cx="10042890" cy="7500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000">
                <a:solidFill>
                  <a:schemeClr val="accent2"/>
                </a:solidFill>
                <a:cs typeface="Arial"/>
              </a:rPr>
              <a:t>Previous Month Summary</a:t>
            </a:r>
          </a:p>
        </p:txBody>
      </p:sp>
    </p:spTree>
    <p:extLst>
      <p:ext uri="{BB962C8B-B14F-4D97-AF65-F5344CB8AC3E}">
        <p14:creationId xmlns:p14="http://schemas.microsoft.com/office/powerpoint/2010/main" val="21578291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>
            <a:extLst>
              <a:ext uri="{FF2B5EF4-FFF2-40B4-BE49-F238E27FC236}">
                <a16:creationId xmlns:a16="http://schemas.microsoft.com/office/drawing/2014/main" id="{27C4593E-F331-4059-A2BA-5BC77797F351}"/>
              </a:ext>
            </a:extLst>
          </p:cNvPr>
          <p:cNvSpPr txBox="1">
            <a:spLocks/>
          </p:cNvSpPr>
          <p:nvPr/>
        </p:nvSpPr>
        <p:spPr>
          <a:xfrm>
            <a:off x="291313" y="16535"/>
            <a:ext cx="10042890" cy="7500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000">
                <a:solidFill>
                  <a:schemeClr val="accent2"/>
                </a:solidFill>
                <a:cs typeface="Arial"/>
              </a:rPr>
              <a:t>Alert Status Updat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F978A67-353B-4C2D-80DA-3A47F2FB7342}"/>
              </a:ext>
            </a:extLst>
          </p:cNvPr>
          <p:cNvSpPr txBox="1"/>
          <p:nvPr/>
        </p:nvSpPr>
        <p:spPr>
          <a:xfrm>
            <a:off x="10400145" y="3295561"/>
            <a:ext cx="835891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B102E23-0B77-410C-BB7C-2D4E7889B3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3137" t="18924" r="-73" b="32192"/>
          <a:stretch/>
        </p:blipFill>
        <p:spPr>
          <a:xfrm>
            <a:off x="7895644" y="1845783"/>
            <a:ext cx="3933479" cy="2863273"/>
          </a:xfrm>
          <a:prstGeom prst="rect">
            <a:avLst/>
          </a:prstGeom>
        </p:spPr>
      </p:pic>
      <p:pic>
        <p:nvPicPr>
          <p:cNvPr id="3" name="Picture 4" descr="A graph of a chart&#10;&#10;Description automatically generated">
            <a:extLst>
              <a:ext uri="{FF2B5EF4-FFF2-40B4-BE49-F238E27FC236}">
                <a16:creationId xmlns:a16="http://schemas.microsoft.com/office/drawing/2014/main" id="{0238BB5D-1A80-A4F9-2749-63D0A8CD533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90697" y="920316"/>
            <a:ext cx="6402681" cy="5026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76790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xCUTrzp..khx_FJMRB_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MGB_standard_template_082020">
  <a:themeElements>
    <a:clrScheme name="MGB">
      <a:dk1>
        <a:srgbClr val="000000"/>
      </a:dk1>
      <a:lt1>
        <a:srgbClr val="FFFFFF"/>
      </a:lt1>
      <a:dk2>
        <a:srgbClr val="B0E3E2"/>
      </a:dk2>
      <a:lt2>
        <a:srgbClr val="808080"/>
      </a:lt2>
      <a:accent1>
        <a:srgbClr val="009AA3"/>
      </a:accent1>
      <a:accent2>
        <a:srgbClr val="003A93"/>
      </a:accent2>
      <a:accent3>
        <a:srgbClr val="0077CA"/>
      </a:accent3>
      <a:accent4>
        <a:srgbClr val="CD7F00"/>
      </a:accent4>
      <a:accent5>
        <a:srgbClr val="5C068A"/>
      </a:accent5>
      <a:accent6>
        <a:srgbClr val="CC0037"/>
      </a:accent6>
      <a:hlink>
        <a:srgbClr val="0077CA"/>
      </a:hlink>
      <a:folHlink>
        <a:srgbClr val="5C068A"/>
      </a:folHlink>
    </a:clrScheme>
    <a:fontScheme name="MGB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GB_standard_template_022021" id="{D73F0B1C-26EB-3F44-8AE0-474B42F0F61E}" vid="{68716181-CC01-2345-AB9B-FFE4016E16B6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0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8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CF94C657971F48B56CF0CEC1DF5728" ma:contentTypeVersion="12" ma:contentTypeDescription="Create a new document." ma:contentTypeScope="" ma:versionID="9ef60377f9f96fea32d3b87b8b9b3eb2">
  <xsd:schema xmlns:xsd="http://www.w3.org/2001/XMLSchema" xmlns:xs="http://www.w3.org/2001/XMLSchema" xmlns:p="http://schemas.microsoft.com/office/2006/metadata/properties" xmlns:ns2="d883cfbb-81ad-4367-a715-9c0ce3e1ecef" xmlns:ns3="08ca8ea8-773b-48a0-85fd-a3c46225388c" targetNamespace="http://schemas.microsoft.com/office/2006/metadata/properties" ma:root="true" ma:fieldsID="86f99557b69b15a51503f3d4e1769a29" ns2:_="" ns3:_="">
    <xsd:import namespace="d883cfbb-81ad-4367-a715-9c0ce3e1ecef"/>
    <xsd:import namespace="08ca8ea8-773b-48a0-85fd-a3c4622538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83cfbb-81ad-4367-a715-9c0ce3e1ece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ca8ea8-773b-48a0-85fd-a3c46225388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A57BF5D-E360-4E83-92AA-D37693ADAC5D}">
  <ds:schemaRefs>
    <ds:schemaRef ds:uri="08ca8ea8-773b-48a0-85fd-a3c46225388c"/>
    <ds:schemaRef ds:uri="d883cfbb-81ad-4367-a715-9c0ce3e1ece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D8C049A-5F92-4AC1-A394-13A1E3224B2E}">
  <ds:schemaRefs>
    <ds:schemaRef ds:uri="08ca8ea8-773b-48a0-85fd-a3c46225388c"/>
    <ds:schemaRef ds:uri="d883cfbb-81ad-4367-a715-9c0ce3e1ece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66AE1D1-D70A-4926-B545-571742A2554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331</Words>
  <Application>Microsoft Office PowerPoint</Application>
  <PresentationFormat>Widescreen</PresentationFormat>
  <Paragraphs>49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31" baseType="lpstr">
      <vt:lpstr>Arial</vt:lpstr>
      <vt:lpstr>Calibri</vt:lpstr>
      <vt:lpstr>Calibri Light</vt:lpstr>
      <vt:lpstr>Georgia</vt:lpstr>
      <vt:lpstr>Segoe UI</vt:lpstr>
      <vt:lpstr>System Font Regular</vt:lpstr>
      <vt:lpstr>Wingdings</vt:lpstr>
      <vt:lpstr>1_Custom Design</vt:lpstr>
      <vt:lpstr>Custom Design</vt:lpstr>
      <vt:lpstr>2_Custom Design</vt:lpstr>
      <vt:lpstr>4_Custom Design</vt:lpstr>
      <vt:lpstr>3_Custom Design</vt:lpstr>
      <vt:lpstr>10_Custom Design</vt:lpstr>
      <vt:lpstr>5_Custom Design</vt:lpstr>
      <vt:lpstr>8_Custom Design</vt:lpstr>
      <vt:lpstr>11_Custom Design</vt:lpstr>
      <vt:lpstr>12_Custom Design</vt:lpstr>
      <vt:lpstr>1_Custom Design</vt:lpstr>
      <vt:lpstr>MGB_standard_template_082020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vie, Alexandra Catherine</dc:creator>
  <cp:lastModifiedBy>Qureshi, Taj F.</cp:lastModifiedBy>
  <cp:revision>63</cp:revision>
  <dcterms:created xsi:type="dcterms:W3CDTF">2021-02-02T16:14:45Z</dcterms:created>
  <dcterms:modified xsi:type="dcterms:W3CDTF">2023-07-11T17:43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CF94C657971F48B56CF0CEC1DF5728</vt:lpwstr>
  </property>
</Properties>
</file>